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48" r:id="rId5"/>
  </p:sldIdLst>
  <p:sldSz cx="12192000" cy="6858000"/>
  <p:notesSz cx="7315200" cy="96012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ECA0"/>
    <a:srgbClr val="65F9B0"/>
    <a:srgbClr val="7BCE6C"/>
    <a:srgbClr val="26890D"/>
    <a:srgbClr val="F2F2F2"/>
    <a:srgbClr val="93F37B"/>
    <a:srgbClr val="BCEBFF"/>
    <a:srgbClr val="86BC25"/>
    <a:srgbClr val="43B02A"/>
    <a:srgbClr val="009A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3D4454E-BE98-5565-3058-1304F033C15E}" v="72" dt="2024-10-17T16:22:07.966"/>
    <p1510:client id="{73CCE1CD-9A7F-8AF9-EC26-7E20F8833A3F}" v="20" dt="2024-10-17T13:36:38.980"/>
    <p1510:client id="{D226F3FD-5824-FEF7-5654-7DCC51AE41C4}" v="151" dt="2024-10-17T14:05:19.18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8/10/relationships/authors" Target="authors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>
                <a:latin typeface="Arial" panose="020B0604020202020204" pitchFamily="34" charset="0"/>
              </a:rPr>
              <a:t>10/17/2024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/>
              <a:pPr/>
              <a:t>10/1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01EE57E-4C1B-4ECF-94C5-14A453751EA1}"/>
              </a:ext>
            </a:extLst>
          </p:cNvPr>
          <p:cNvGrpSpPr>
            <a:grpSpLocks noChangeAspect="1"/>
          </p:cNvGrpSpPr>
          <p:nvPr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848B10DB-7BA0-47A6-A2BF-E43FDE3253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B690FCB5-02B0-42C1-A71D-2F5ABCA25F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358223E3-2772-41EC-BDC5-F0327F14B2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0E75CE7-1268-47E9-A585-16E350CB097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BF8B8A80-FD9A-43B9-A936-A0BE1CAD80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5DA18E48-2689-422E-A84C-ECB5B61A0D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D9316E24-7A8A-4FCF-B2C4-4EE40E3BA9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76354CE9-D577-46E8-886D-1BBB079BE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2232419E-4011-4B15-A744-7F8FCDD1F5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2F957E66-C402-4A51-A806-6052AEAFC8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D35CEE80-9913-49B6-AD2D-CD6015DCEA1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6BB5887F-93D5-475B-917E-FCC7B89F372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D37D77E-C437-42FD-91ED-69906088553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  <p:sp>
        <p:nvSpPr>
          <p:cNvPr id="42" name="Title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239602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27CF3F4C-5874-4930-8527-36305B15F57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BBDF0290-19AC-4946-8A62-805CF2CCDC9C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CaseCode">
            <a:extLst>
              <a:ext uri="{FF2B5EF4-FFF2-40B4-BE49-F238E27FC236}">
                <a16:creationId xmlns:a16="http://schemas.microsoft.com/office/drawing/2014/main" id="{A5F15993-9A11-497E-9B56-FBC6CFC14D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688FFC8-7352-479D-AA3C-FD6DC60CED1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829B2D-FBA8-486E-BA8A-D44EBE6D7A73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900" baseline="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5645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7" y="1714500"/>
            <a:ext cx="9323916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CAC30FC8-4769-493E-8A50-EE686BE7D3B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A86122FE-538F-4A32-A4D5-095A77004C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8543C88E-E176-4291-8A87-994374277F5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2A178BA9-7781-4CBD-AA26-059841B96E1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DB4A35-A981-4070-976E-FF0B78FCCF1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900" baseline="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697090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C01345-8637-49F7-B27A-1F3623D0EA4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537F287-C3D9-41AB-A895-877ED68E01DE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3937E4FF-E016-44F3-AD4A-BD40518CEB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0F3F35D-F2C2-4AB4-B366-EEC863736AF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4DB589F-A6FF-45A0-9279-59580FC81C96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900" baseline="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639861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8A2ACF0E-68DE-4019-9B26-9765BBDE1FC4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8170BC7A-230F-4CFF-B510-7C11B6B6B394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11B7F5CA-811D-4AE2-962B-BF8A99E307A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7EB031C3-69E1-4133-9550-E7CB21DD10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089A2F-E1F6-41D3-964D-CBD86C232A5E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900" baseline="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615625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BE26B797-9949-48A3-976D-A898E3C18E4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MIO_AGENDA_IGNORE_CHAPTER_REFERENCE" hidden="1">
            <a:extLst>
              <a:ext uri="{FF2B5EF4-FFF2-40B4-BE49-F238E27FC236}">
                <a16:creationId xmlns:a16="http://schemas.microsoft.com/office/drawing/2014/main" id="{14E60C47-69F3-4ABA-80FD-E5DF82E7BA1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09112F48-72C6-45E5-A1E0-1581DF24E1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A22A7399-BED7-4421-B384-26835214549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BAD39A-8E4D-4CED-BFA6-6A113684235A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900" baseline="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950814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/>
          </p:nvPr>
        </p:nvSpPr>
        <p:spPr>
          <a:xfrm>
            <a:off x="475488" y="1719072"/>
            <a:ext cx="9328912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7583F471-57B6-4DAA-89A7-6E0D0C078BF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D1E299B4-0A88-451E-904B-278ECCE2D8C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5130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2776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14335632"/>
      </p:ext>
    </p:extLst>
  </p:cSld>
  <p:clrMapOvr>
    <a:masterClrMapping/>
  </p:clrMapOvr>
  <p:transition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73669181"/>
      </p:ext>
    </p:extLst>
  </p:cSld>
  <p:clrMapOvr>
    <a:masterClrMapping/>
  </p:clrMapOvr>
  <p:transition>
    <p:fade/>
  </p:transition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upper right"/>
          <p:cNvSpPr>
            <a:spLocks noGrp="1"/>
          </p:cNvSpPr>
          <p:nvPr>
            <p:ph type="body" sz="quarter" idx="10"/>
          </p:nvPr>
        </p:nvSpPr>
        <p:spPr>
          <a:xfrm>
            <a:off x="8933144" y="345584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800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left"/>
          <p:cNvSpPr>
            <a:spLocks noGrp="1"/>
          </p:cNvSpPr>
          <p:nvPr>
            <p:ph type="body" sz="quarter" idx="11"/>
          </p:nvPr>
        </p:nvSpPr>
        <p:spPr>
          <a:xfrm>
            <a:off x="463296" y="1714500"/>
            <a:ext cx="3549904" cy="4648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1200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right"/>
          <p:cNvSpPr>
            <a:spLocks noGrp="1"/>
          </p:cNvSpPr>
          <p:nvPr>
            <p:ph type="body" sz="quarter" idx="12"/>
          </p:nvPr>
        </p:nvSpPr>
        <p:spPr>
          <a:xfrm>
            <a:off x="4318000" y="1719073"/>
            <a:ext cx="7416801" cy="4643628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D879EE2-D803-4CB2-AF00-F24E09224D10}"/>
              </a:ext>
            </a:extLst>
          </p:cNvPr>
          <p:cNvGrpSpPr>
            <a:grpSpLocks noChangeAspect="1"/>
          </p:cNvGrpSpPr>
          <p:nvPr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D45CA835-378D-4289-9657-CD3C1D61435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3810899-A11C-413B-8CBC-D3CFBE3CD8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A104677E-C9A9-43FD-9636-282AA4967CC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33CAB285-FAC0-4F34-8146-267CBA1B5D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16082ED9-88C5-4736-942C-C7E3CCCA1BE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E1E6C516-6C1B-4A02-BB05-4F831D78EC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DA6EFC15-17CF-407E-9776-DF518801DE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032EBC75-0AB2-4438-90A3-70694DE0F4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FC22A38A-F53A-4006-98CB-F2CD2E2761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69265903-DE87-4699-A08F-FA3C1B52FB3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4444823"/>
      </p:ext>
    </p:extLst>
  </p:cSld>
  <p:clrMapOvr>
    <a:masterClrMapping/>
  </p:clrMapOvr>
  <p:transition>
    <p:fade/>
  </p:transition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463295" y="347472"/>
            <a:ext cx="11228832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Picture Placeholder"/>
          <p:cNvSpPr>
            <a:spLocks noGrp="1"/>
          </p:cNvSpPr>
          <p:nvPr>
            <p:ph type="pic" sz="quarter" idx="15"/>
          </p:nvPr>
        </p:nvSpPr>
        <p:spPr>
          <a:xfrm>
            <a:off x="5450351" y="1714500"/>
            <a:ext cx="6240000" cy="46482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Content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4471013"/>
      </p:ext>
    </p:extLst>
  </p:cSld>
  <p:clrMapOvr>
    <a:masterClrMapping/>
  </p:clrMapOvr>
  <p:transition>
    <p:fade/>
  </p:transition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6F50CF5-77BF-459B-9A79-3C4CC22A0F3A}"/>
              </a:ext>
            </a:extLst>
          </p:cNvPr>
          <p:cNvGrpSpPr/>
          <p:nvPr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E9128BED-07B9-451E-B858-7CC1141471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C68196BA-7D11-4539-BDF9-983E22D342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42AF1C77-6287-4499-B04A-87B27165DE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25579AED-BEB3-43B3-8ED1-4F00DD4BD00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E45E9D0B-F5C0-4893-92F0-D69A666C1B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DE5C210F-0B06-4949-8E4D-64301D93E9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F24B8B3C-D0AE-4485-8A30-2C7813EFD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0DD172EE-B893-46D5-9A64-6715E43129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41641FDD-35E1-4F42-B99C-FFA6812569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DFE30DEA-FA20-4812-875C-D70A3CA3F5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E87F14BC-2A89-442C-A2A4-F8C495F64EDE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MIO_AGENDA_IGNORE_CHAPTER_REFERENCE" hidden="1">
            <a:extLst>
              <a:ext uri="{FF2B5EF4-FFF2-40B4-BE49-F238E27FC236}">
                <a16:creationId xmlns:a16="http://schemas.microsoft.com/office/drawing/2014/main" id="{47AE036B-D905-4E75-9AA0-BBD4F9B323D9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62EDD38-A67F-487C-BB7B-5F5DC45273C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  <p:sp>
        <p:nvSpPr>
          <p:cNvPr id="53" name="Title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009731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left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right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9094938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021DD-F549-41C3-B366-CFCBDD859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ECC1F342-3C5A-4884-B063-1F96DE727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2159D59-FAF6-4904-B82D-440C56566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60591" y="1714500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42269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685801"/>
            <a:ext cx="11277599" cy="10276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3296" y="2078281"/>
            <a:ext cx="11271504" cy="404273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50300"/>
            <a:ext cx="11265412" cy="335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hart Title / Headline"/>
          <p:cNvSpPr>
            <a:spLocks noGrp="1"/>
          </p:cNvSpPr>
          <p:nvPr>
            <p:ph type="body" sz="quarter" idx="18"/>
          </p:nvPr>
        </p:nvSpPr>
        <p:spPr>
          <a:xfrm>
            <a:off x="463296" y="1717263"/>
            <a:ext cx="11271504" cy="357187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 bottom">
            <a:extLst>
              <a:ext uri="{FF2B5EF4-FFF2-40B4-BE49-F238E27FC236}">
                <a16:creationId xmlns:a16="http://schemas.microsoft.com/office/drawing/2014/main" id="{4B6E095B-6E26-41E6-AFC8-FF16F0C3C8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085484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"/>
          <p:cNvSpPr>
            <a:spLocks noGrp="1"/>
          </p:cNvSpPr>
          <p:nvPr>
            <p:ph type="chart" sz="quarter" idx="21"/>
          </p:nvPr>
        </p:nvSpPr>
        <p:spPr>
          <a:xfrm>
            <a:off x="6256871" y="2137713"/>
            <a:ext cx="5480304" cy="39833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6" name="Chart Title / Headline"/>
          <p:cNvSpPr>
            <a:spLocks noGrp="1"/>
          </p:cNvSpPr>
          <p:nvPr>
            <p:ph type="body" sz="quarter" idx="22"/>
          </p:nvPr>
        </p:nvSpPr>
        <p:spPr>
          <a:xfrm>
            <a:off x="6256871" y="1719074"/>
            <a:ext cx="5480304" cy="40594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CD00439A-130B-4E04-85CB-DABD856B2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33B9B3F6-9F40-4388-9B79-8E0961AD2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ntent left">
            <a:extLst>
              <a:ext uri="{FF2B5EF4-FFF2-40B4-BE49-F238E27FC236}">
                <a16:creationId xmlns:a16="http://schemas.microsoft.com/office/drawing/2014/main" id="{81AD6F48-ECFC-4B93-B043-AEA877E0937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3"/>
            <a:ext cx="5480304" cy="4401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13956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Title right / Headline"/>
          <p:cNvSpPr>
            <a:spLocks noGrp="1"/>
          </p:cNvSpPr>
          <p:nvPr>
            <p:ph type="body" sz="quarter" idx="22"/>
          </p:nvPr>
        </p:nvSpPr>
        <p:spPr>
          <a:xfrm>
            <a:off x="6254379" y="1719073"/>
            <a:ext cx="5486516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left"/>
          <p:cNvSpPr>
            <a:spLocks noGrp="1"/>
          </p:cNvSpPr>
          <p:nvPr>
            <p:ph type="chart" sz="quarter" idx="24"/>
          </p:nvPr>
        </p:nvSpPr>
        <p:spPr>
          <a:xfrm>
            <a:off x="460271" y="2115775"/>
            <a:ext cx="5480304" cy="39960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Chart Title left / Headline"/>
          <p:cNvSpPr>
            <a:spLocks noGrp="1"/>
          </p:cNvSpPr>
          <p:nvPr>
            <p:ph type="body" sz="quarter" idx="25"/>
          </p:nvPr>
        </p:nvSpPr>
        <p:spPr>
          <a:xfrm>
            <a:off x="463296" y="1719073"/>
            <a:ext cx="5480304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Chart Placeholder right">
            <a:extLst>
              <a:ext uri="{FF2B5EF4-FFF2-40B4-BE49-F238E27FC236}">
                <a16:creationId xmlns:a16="http://schemas.microsoft.com/office/drawing/2014/main" id="{F1BD57FD-600D-430A-AB0C-89DFCC950E21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6248403" y="2125011"/>
            <a:ext cx="5486397" cy="39960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ACD26822-93FD-4865-A5E4-053695247E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B7DE9340-98F1-4431-9CA2-BA6425441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6113106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"/>
          <p:cNvSpPr>
            <a:spLocks noGrp="1"/>
          </p:cNvSpPr>
          <p:nvPr>
            <p:ph sz="quarter" idx="16"/>
          </p:nvPr>
        </p:nvSpPr>
        <p:spPr>
          <a:xfrm>
            <a:off x="5450349" y="1718455"/>
            <a:ext cx="6290545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834EAC11-4B6F-4989-ADAB-DCA27D91F5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15E83D0-63FA-4C06-8888-31EF8033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787876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sz="quarter" idx="10"/>
          </p:nvPr>
        </p:nvSpPr>
        <p:spPr>
          <a:xfrm>
            <a:off x="8192978" y="1737504"/>
            <a:ext cx="3547917" cy="464424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Left"/>
          <p:cNvSpPr>
            <a:spLocks noGrp="1"/>
          </p:cNvSpPr>
          <p:nvPr>
            <p:ph sz="quarter" idx="16"/>
          </p:nvPr>
        </p:nvSpPr>
        <p:spPr>
          <a:xfrm>
            <a:off x="473296" y="1718454"/>
            <a:ext cx="7400704" cy="46442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D58FC9CF-4F37-4309-BF5F-E64AE4942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6999054A-E358-4B12-B841-DE440A68D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60452096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left"/>
          <p:cNvSpPr>
            <a:spLocks noGrp="1"/>
          </p:cNvSpPr>
          <p:nvPr>
            <p:ph type="chart" sz="quarter" idx="15"/>
          </p:nvPr>
        </p:nvSpPr>
        <p:spPr>
          <a:xfrm>
            <a:off x="461468" y="2115797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18" name="Chart Title left / Headline"/>
          <p:cNvSpPr>
            <a:spLocks noGrp="1"/>
          </p:cNvSpPr>
          <p:nvPr>
            <p:ph type="body" sz="quarter" idx="18"/>
          </p:nvPr>
        </p:nvSpPr>
        <p:spPr>
          <a:xfrm>
            <a:off x="459119" y="1722943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Chart Placeholder center">
            <a:extLst>
              <a:ext uri="{FF2B5EF4-FFF2-40B4-BE49-F238E27FC236}">
                <a16:creationId xmlns:a16="http://schemas.microsoft.com/office/drawing/2014/main" id="{16889619-7368-4B21-B502-003FD717C954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432357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20" name="Chart Title center / Headline">
            <a:extLst>
              <a:ext uri="{FF2B5EF4-FFF2-40B4-BE49-F238E27FC236}">
                <a16:creationId xmlns:a16="http://schemas.microsoft.com/office/drawing/2014/main" id="{7536B633-26E6-47E5-A809-A97D26199C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122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hart Placeholder right">
            <a:extLst>
              <a:ext uri="{FF2B5EF4-FFF2-40B4-BE49-F238E27FC236}">
                <a16:creationId xmlns:a16="http://schemas.microsoft.com/office/drawing/2014/main" id="{B4691CB5-FF7F-4DAF-80B3-769541086497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819369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22" name="Chart Title right / Headline">
            <a:extLst>
              <a:ext uri="{FF2B5EF4-FFF2-40B4-BE49-F238E27FC236}">
                <a16:creationId xmlns:a16="http://schemas.microsoft.com/office/drawing/2014/main" id="{D8875204-BB59-4C5F-ABB1-D0ECEC5A070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9134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272C8D47-97C8-4E6F-91CC-C3AB406C1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4" name="Title">
            <a:extLst>
              <a:ext uri="{FF2B5EF4-FFF2-40B4-BE49-F238E27FC236}">
                <a16:creationId xmlns:a16="http://schemas.microsoft.com/office/drawing/2014/main" id="{D65F0445-032D-4E6A-83EC-59A2184ED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5517696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481764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330040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171687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9020883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Text bottom left"/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bottom center left"/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bottom center right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bottom right"/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81DFAED1-3C69-4431-8715-026D730F1B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548C662B-0462-4963-B666-2976F675A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9274215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/>
          <p:cNvSpPr>
            <a:spLocks noGrp="1"/>
          </p:cNvSpPr>
          <p:nvPr>
            <p:ph type="pic" sz="quarter" idx="25"/>
          </p:nvPr>
        </p:nvSpPr>
        <p:spPr>
          <a:xfrm>
            <a:off x="475645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266617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5645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31"/>
          </p:nvPr>
        </p:nvSpPr>
        <p:spPr>
          <a:xfrm>
            <a:off x="6266617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upper left"/>
          <p:cNvSpPr>
            <a:spLocks noGrp="1"/>
          </p:cNvSpPr>
          <p:nvPr>
            <p:ph type="body" sz="quarter" idx="32"/>
          </p:nvPr>
        </p:nvSpPr>
        <p:spPr>
          <a:xfrm>
            <a:off x="2655128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upper right"/>
          <p:cNvSpPr>
            <a:spLocks noGrp="1"/>
          </p:cNvSpPr>
          <p:nvPr>
            <p:ph type="body" sz="quarter" idx="33"/>
          </p:nvPr>
        </p:nvSpPr>
        <p:spPr>
          <a:xfrm>
            <a:off x="8439092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bottom left"/>
          <p:cNvSpPr>
            <a:spLocks noGrp="1"/>
          </p:cNvSpPr>
          <p:nvPr>
            <p:ph type="body" sz="quarter" idx="34"/>
          </p:nvPr>
        </p:nvSpPr>
        <p:spPr>
          <a:xfrm>
            <a:off x="2655128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bottom right"/>
          <p:cNvSpPr>
            <a:spLocks noGrp="1"/>
          </p:cNvSpPr>
          <p:nvPr>
            <p:ph type="body" sz="quarter" idx="35"/>
          </p:nvPr>
        </p:nvSpPr>
        <p:spPr>
          <a:xfrm>
            <a:off x="8439092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Subtitle">
            <a:extLst>
              <a:ext uri="{FF2B5EF4-FFF2-40B4-BE49-F238E27FC236}">
                <a16:creationId xmlns:a16="http://schemas.microsoft.com/office/drawing/2014/main" id="{CD54EF50-1F75-4251-9838-5413705270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580152B0-65C5-4969-BA13-FFC077318B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DAFD084-463A-44C6-B882-24EE18CC2B98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1E7FDC9-AC67-4CA4-86DE-4DFAAEE0DFF9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0BFD11F-868A-4204-947B-D205C842DFE0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CD1FA4C-A499-4E17-B3FC-CC3DA6E8CF7C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94752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4224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2ADDA35-0590-4771-9879-88CE0238551F}"/>
              </a:ext>
            </a:extLst>
          </p:cNvPr>
          <p:cNvGrpSpPr/>
          <p:nvPr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9" name="Oval 5">
              <a:extLst>
                <a:ext uri="{FF2B5EF4-FFF2-40B4-BE49-F238E27FC236}">
                  <a16:creationId xmlns:a16="http://schemas.microsoft.com/office/drawing/2014/main" id="{3FD17B1A-A918-439D-AFAD-ECE9421735F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79359716-9ACF-4041-A7F0-2E04E36D861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EE3C6AB2-FF26-4D74-983F-E8C9540B70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600C838-AB18-404F-AF64-5BE6309AC2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37EF79B8-3321-4A68-A438-F7CA9AB20D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9EB266B0-2723-40E9-BD24-9B88F11371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90C5C28F-BB95-44AD-9700-55D9AE2BE2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42500885-66FF-4752-A3E1-7C0FA9778A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165DB8AE-A24F-4086-963B-1C7F379D216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282083A4-2C11-43E4-9516-9622E1E74D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  <p:sp>
        <p:nvSpPr>
          <p:cNvPr id="30" name="MIO_AGENDA_IGNORE_NAVIGATION" hidden="1">
            <a:extLst>
              <a:ext uri="{FF2B5EF4-FFF2-40B4-BE49-F238E27FC236}">
                <a16:creationId xmlns:a16="http://schemas.microsoft.com/office/drawing/2014/main" id="{21E6B44B-2911-4D90-ADF1-345D287BEC40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31" name="MIO_AGENDA_IGNORE_CHAPTER_REFERENCE" hidden="1">
            <a:extLst>
              <a:ext uri="{FF2B5EF4-FFF2-40B4-BE49-F238E27FC236}">
                <a16:creationId xmlns:a16="http://schemas.microsoft.com/office/drawing/2014/main" id="{D22541A4-6CCB-49E3-87E5-CEF66BC7C1D8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81AB6879-BEBD-4350-977F-6C88566174B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85758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left"/>
          <p:cNvSpPr>
            <a:spLocks noGrp="1"/>
          </p:cNvSpPr>
          <p:nvPr>
            <p:ph type="body" sz="quarter" idx="17"/>
          </p:nvPr>
        </p:nvSpPr>
        <p:spPr>
          <a:xfrm>
            <a:off x="470343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right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6" name="Picture left"/>
          <p:cNvSpPr>
            <a:spLocks noGrp="1"/>
          </p:cNvSpPr>
          <p:nvPr>
            <p:ph type="pic" sz="quarter" idx="19" hasCustomPrompt="1"/>
          </p:nvPr>
        </p:nvSpPr>
        <p:spPr>
          <a:xfrm>
            <a:off x="4734090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1048843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C2FDA775-7453-495D-ABC5-C379E37806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D55BC33C-2B71-4E68-81E3-F520AB462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2332119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>
            <a:extLst>
              <a:ext uri="{FF2B5EF4-FFF2-40B4-BE49-F238E27FC236}">
                <a16:creationId xmlns:a16="http://schemas.microsoft.com/office/drawing/2014/main" id="{8D89C7E6-37F5-4005-B8BE-658A5ADDE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0FA13130-E22F-4F71-97DB-A64E7A175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1511309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26FB2E4B-5D1B-4250-844C-3D50DE4A9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5235797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" name="Title ( as Text PH)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ubtitle ( as Text PH)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6333770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Subtitle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6101128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middle">
            <a:extLst>
              <a:ext uri="{FF2B5EF4-FFF2-40B4-BE49-F238E27FC236}">
                <a16:creationId xmlns:a16="http://schemas.microsoft.com/office/drawing/2014/main" id="{09891263-8779-41FC-9383-3693CA16CB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730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center">
            <a:extLst>
              <a:ext uri="{FF2B5EF4-FFF2-40B4-BE49-F238E27FC236}">
                <a16:creationId xmlns:a16="http://schemas.microsoft.com/office/drawing/2014/main" id="{3F862111-A699-4618-9902-CD7B1ECC90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right">
            <a:extLst>
              <a:ext uri="{FF2B5EF4-FFF2-40B4-BE49-F238E27FC236}">
                <a16:creationId xmlns:a16="http://schemas.microsoft.com/office/drawing/2014/main" id="{136FEA86-C43A-4BD9-AC25-65C16B3F48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440"/>
            <a:ext cx="3556000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9D600A6A-61E2-4C72-A87B-39D905EFB4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D5910C4A-3157-47A5-8677-1140132DE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1E1916-39D6-44A9-8C07-60C8660A0953}"/>
              </a:ext>
            </a:extLst>
          </p:cNvPr>
          <p:cNvSpPr/>
          <p:nvPr/>
        </p:nvSpPr>
        <p:spPr>
          <a:xfrm>
            <a:off x="458729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178E01-9486-4723-8ECD-9A89CE53905A}"/>
              </a:ext>
            </a:extLst>
          </p:cNvPr>
          <p:cNvSpPr/>
          <p:nvPr/>
        </p:nvSpPr>
        <p:spPr>
          <a:xfrm>
            <a:off x="4314824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2A3624-848D-4789-989D-4C19B95C8DD4}"/>
              </a:ext>
            </a:extLst>
          </p:cNvPr>
          <p:cNvSpPr/>
          <p:nvPr/>
        </p:nvSpPr>
        <p:spPr>
          <a:xfrm>
            <a:off x="8178800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6995929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BAA35D0E-EBF0-4599-84F7-684DE89E56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CBCDA542-DB63-41BB-89C0-73F35C7D1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 left">
            <a:extLst>
              <a:ext uri="{FF2B5EF4-FFF2-40B4-BE49-F238E27FC236}">
                <a16:creationId xmlns:a16="http://schemas.microsoft.com/office/drawing/2014/main" id="{C73178E3-6490-436A-8FEB-CC4E21B542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center right">
            <a:extLst>
              <a:ext uri="{FF2B5EF4-FFF2-40B4-BE49-F238E27FC236}">
                <a16:creationId xmlns:a16="http://schemas.microsoft.com/office/drawing/2014/main" id="{1B5A2B37-A59A-4B85-9144-75BC73AD9D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center left">
            <a:extLst>
              <a:ext uri="{FF2B5EF4-FFF2-40B4-BE49-F238E27FC236}">
                <a16:creationId xmlns:a16="http://schemas.microsoft.com/office/drawing/2014/main" id="{0EDB9492-A5FE-44CC-90D8-0E0E80A4E8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right">
            <a:extLst>
              <a:ext uri="{FF2B5EF4-FFF2-40B4-BE49-F238E27FC236}">
                <a16:creationId xmlns:a16="http://schemas.microsoft.com/office/drawing/2014/main" id="{3D335E86-FA3A-4B76-B4D1-5D530C4E37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920416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5BECBA53-5CA5-4826-B507-38E5EDBC493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83571CF0-9FB3-44B1-BE19-B891DD1B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left">
            <a:extLst>
              <a:ext uri="{FF2B5EF4-FFF2-40B4-BE49-F238E27FC236}">
                <a16:creationId xmlns:a16="http://schemas.microsoft.com/office/drawing/2014/main" id="{CA32CD74-2C13-40B4-A25F-8871032067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center right">
            <a:extLst>
              <a:ext uri="{FF2B5EF4-FFF2-40B4-BE49-F238E27FC236}">
                <a16:creationId xmlns:a16="http://schemas.microsoft.com/office/drawing/2014/main" id="{0BD8344B-373A-4CA8-9F91-E02B0DA48B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 center left">
            <a:extLst>
              <a:ext uri="{FF2B5EF4-FFF2-40B4-BE49-F238E27FC236}">
                <a16:creationId xmlns:a16="http://schemas.microsoft.com/office/drawing/2014/main" id="{55636606-D676-4661-AF12-C0DF71DF3A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1" name="Text right">
            <a:extLst>
              <a:ext uri="{FF2B5EF4-FFF2-40B4-BE49-F238E27FC236}">
                <a16:creationId xmlns:a16="http://schemas.microsoft.com/office/drawing/2014/main" id="{59A4F706-D410-4A3E-B5DE-E6CD51845E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aseCode">
            <a:extLst>
              <a:ext uri="{FF2B5EF4-FFF2-40B4-BE49-F238E27FC236}">
                <a16:creationId xmlns:a16="http://schemas.microsoft.com/office/drawing/2014/main" id="{80722BCF-EAC6-4563-95CB-8DBE842E9D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900FBF6-54F6-4B67-A1F3-CFB545048C2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68D3198-C277-4239-A0FE-263D3F9A09A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900" baseline="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00413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5324" y="1853601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2979" y="4258270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500785" y="4258270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5149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28" name="Text top left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344" y="1856232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9" name="Text top right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7042" y="1847618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0" name="Text bottom left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344" y="425662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1" name="Text bottom right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7043" y="4256623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E3C8C216-A0D5-48CE-BB18-6E34DE5AE0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A6B3ABAE-3971-4ECC-8E25-1E94617FBF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3E3D5E-69E0-409C-B43B-3D03BAF8E640}"/>
              </a:ext>
            </a:extLst>
          </p:cNvPr>
          <p:cNvSpPr/>
          <p:nvPr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C51DC9-50A0-4091-8F6F-9150D453B6B1}"/>
              </a:ext>
            </a:extLst>
          </p:cNvPr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18D7C8-CEED-48A7-ADB2-7610B12C1B07}"/>
              </a:ext>
            </a:extLst>
          </p:cNvPr>
          <p:cNvSpPr/>
          <p:nvPr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403C2-4204-4E69-B696-73BE1FE1F740}"/>
              </a:ext>
            </a:extLst>
          </p:cNvPr>
          <p:cNvSpPr/>
          <p:nvPr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705775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6185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675"/>
              <a:t>Insert sponsorship mark here</a:t>
            </a:r>
            <a:endParaRPr lang="en-GB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06187" y="5995943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1FFF62A-78AC-4176-888C-7369D55740C5}"/>
              </a:ext>
            </a:extLst>
          </p:cNvPr>
          <p:cNvGrpSpPr>
            <a:grpSpLocks noChangeAspect="1"/>
          </p:cNvGrpSpPr>
          <p:nvPr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77EF0A-6F9B-4CB4-BDFE-54901AC3BD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FBCB662-4DCB-4701-B5DB-617E9625AC3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3AA8F7EF-0FC0-4792-B4E2-516188FAADC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80810E-179A-4B4D-992C-DB02F3F2AA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931CFAC2-92E1-42CB-BB66-BD91AB6DB5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6C92D323-CA87-4BD4-9F33-9346A18A67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D31146A3-7248-4F9C-8242-2B343E0BCE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4BFA0610-A333-4B16-A20C-3ADB78A32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D81528E3-7AAB-4FE3-96EB-0CA354538C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7C686C02-5833-4DB0-8AD3-1E143B411A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17" name="MIO_AGENDA_LAST_SLIDE" hidden="1">
            <a:extLst>
              <a:ext uri="{FF2B5EF4-FFF2-40B4-BE49-F238E27FC236}">
                <a16:creationId xmlns:a16="http://schemas.microsoft.com/office/drawing/2014/main" id="{249491D1-41CC-455A-8F05-5CEA24B33A18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MIO_AGENDA_IGNORE_NAVIGATION" hidden="1">
            <a:extLst>
              <a:ext uri="{FF2B5EF4-FFF2-40B4-BE49-F238E27FC236}">
                <a16:creationId xmlns:a16="http://schemas.microsoft.com/office/drawing/2014/main" id="{9518ECE1-C45A-4DB9-B0F0-E67A14C77DA2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642E351A-DEBD-43E5-AD67-7FEDF79D24F3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173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8B9DDECB-90E6-4132-BCD8-24EBC3764DB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24289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68220B9-53D3-434F-999D-90F07DAA2325}"/>
              </a:ext>
            </a:extLst>
          </p:cNvPr>
          <p:cNvGrpSpPr>
            <a:grpSpLocks noChangeAspect="1"/>
          </p:cNvGrpSpPr>
          <p:nvPr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9" name="Oval 5">
              <a:extLst>
                <a:ext uri="{FF2B5EF4-FFF2-40B4-BE49-F238E27FC236}">
                  <a16:creationId xmlns:a16="http://schemas.microsoft.com/office/drawing/2014/main" id="{8B229135-140E-4C82-9088-DB80D93F74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0B69BD4-36A4-4DB1-B5FD-89FB06A52E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49F4DC4F-9DBA-44B7-B892-0083CA8892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67D5F0A5-5E6C-4963-9090-4DAF5F01D2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22C7545E-5780-4586-9808-699BCCFD7C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489CD93F-3551-40B6-A00B-6CC2A8F5F4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B6557C16-D6D6-4B71-81E6-ADCF6CEB1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E187CACC-821A-4265-91F5-84823A98F3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31AAFBBA-1DE2-4D95-9B71-B343B10650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D7679E8F-E1FF-41C4-93DF-F6A97D92D11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44" name="Text Placeholder">
            <a:extLst>
              <a:ext uri="{FF2B5EF4-FFF2-40B4-BE49-F238E27FC236}">
                <a16:creationId xmlns:a16="http://schemas.microsoft.com/office/drawing/2014/main" id="{E65ED79E-D6FD-4D90-9073-C8776CB6A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9970BE9A-08D6-4159-A7B6-88479C7815D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MIO_AGENDA_IGNORE_CHAPTER_REFERENCE" hidden="1">
            <a:extLst>
              <a:ext uri="{FF2B5EF4-FFF2-40B4-BE49-F238E27FC236}">
                <a16:creationId xmlns:a16="http://schemas.microsoft.com/office/drawing/2014/main" id="{470398AC-9E3C-4202-BC74-310D36FEDC82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91CFDFEF-967E-43B5-BC07-2E7BB4B587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  <p:sp>
        <p:nvSpPr>
          <p:cNvPr id="41" name="Title">
            <a:extLst>
              <a:ext uri="{FF2B5EF4-FFF2-40B4-BE49-F238E27FC236}">
                <a16:creationId xmlns:a16="http://schemas.microsoft.com/office/drawing/2014/main" id="{70F15D73-40F4-4F95-9E2A-7A67F615DB4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5361939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left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675"/>
              <a:t>Insert sponsorship mark here</a:t>
            </a:r>
            <a:endParaRPr lang="en-GB"/>
          </a:p>
        </p:txBody>
      </p:sp>
      <p:sp>
        <p:nvSpPr>
          <p:cNvPr id="8" name="Text bottom right"/>
          <p:cNvSpPr>
            <a:spLocks noGrp="1"/>
          </p:cNvSpPr>
          <p:nvPr>
            <p:ph type="body" sz="quarter" idx="15"/>
          </p:nvPr>
        </p:nvSpPr>
        <p:spPr>
          <a:xfrm>
            <a:off x="9412076" y="5995943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AB860FC-9229-466C-B67B-E6B79E07BB2B}"/>
              </a:ext>
            </a:extLst>
          </p:cNvPr>
          <p:cNvGrpSpPr/>
          <p:nvPr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477D509D-A74E-4D79-8C41-28EE208771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CC851991-483D-4A9F-8C5F-626DE9D5C1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28FEC250-9F3B-45BC-90AF-4CDE000C2C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F8494B23-9F67-4108-8FC3-E645BD138A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198EEDBF-F835-40E6-A1D3-AAADC96DD0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42C9A861-6332-4ADC-88F7-183765B2D7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593BFC01-C985-4400-9F59-CA3E701AB8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4A67BA7C-21CB-474A-9E6A-BCA082851A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15ADC0C-A127-4E52-A974-5D4D91506D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71ADF477-53BF-4770-AA08-07332CAF6A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  <p:sp>
        <p:nvSpPr>
          <p:cNvPr id="21" name="MIO_AGENDA_LAST_SLIDE" hidden="1">
            <a:extLst>
              <a:ext uri="{FF2B5EF4-FFF2-40B4-BE49-F238E27FC236}">
                <a16:creationId xmlns:a16="http://schemas.microsoft.com/office/drawing/2014/main" id="{4DE01233-0E5B-4D44-9AA0-8C2FAEC3AA99}"/>
              </a:ext>
            </a:extLst>
          </p:cNvPr>
          <p:cNvSpPr/>
          <p:nvPr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C544D53A-D969-4D8A-9227-FE63C48016F6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73E0B1A6-781D-43D1-9647-99C9EAE528B1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417124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"/>
          <p:cNvSpPr>
            <a:spLocks noGrp="1"/>
          </p:cNvSpPr>
          <p:nvPr>
            <p:ph idx="1"/>
          </p:nvPr>
        </p:nvSpPr>
        <p:spPr>
          <a:xfrm>
            <a:off x="457200" y="1714500"/>
            <a:ext cx="5638799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D6D36862-655E-4012-828B-77C9C50E5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0FBE14FE-8368-48A9-9469-038784957BD4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830546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F614DE80-8C7B-4676-9D35-D659766837C7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9D7CC3-2CA9-46E2-81C1-FB4543CB2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929927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83AF7E6C-5496-4190-AE22-49321A84B469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MIO_VALID_LAYOUT" hidden="1">
            <a:extLst>
              <a:ext uri="{FF2B5EF4-FFF2-40B4-BE49-F238E27FC236}">
                <a16:creationId xmlns:a16="http://schemas.microsoft.com/office/drawing/2014/main" id="{636C7600-5E54-4871-BD57-39F7D85C964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A5342FA-67EE-4ADC-9C59-3703A4E30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8569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MIO_VALID_LAYOUT" hidden="1">
            <a:extLst>
              <a:ext uri="{FF2B5EF4-FFF2-40B4-BE49-F238E27FC236}">
                <a16:creationId xmlns:a16="http://schemas.microsoft.com/office/drawing/2014/main" id="{EDA56DE6-A1BA-458D-8E96-17188D541BFA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12A54FD-069B-4D28-8BAD-8C8AADEED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10360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0" name="Content"/>
          <p:cNvSpPr>
            <a:spLocks noGrp="1"/>
          </p:cNvSpPr>
          <p:nvPr>
            <p:ph idx="1"/>
          </p:nvPr>
        </p:nvSpPr>
        <p:spPr>
          <a:xfrm>
            <a:off x="460887" y="1714500"/>
            <a:ext cx="11277598" cy="46481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MIO_VALID_LAYOUT" hidden="1">
            <a:extLst>
              <a:ext uri="{FF2B5EF4-FFF2-40B4-BE49-F238E27FC236}">
                <a16:creationId xmlns:a16="http://schemas.microsoft.com/office/drawing/2014/main" id="{C4C53B51-12E9-46AC-A69D-84DDBEA6B078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EC1E235-3062-4F03-8411-7E415A894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08792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4509" y="2080551"/>
            <a:ext cx="11281285" cy="40404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Headline / Chart title"/>
          <p:cNvSpPr>
            <a:spLocks noGrp="1"/>
          </p:cNvSpPr>
          <p:nvPr>
            <p:ph type="body" sz="quarter" idx="18"/>
          </p:nvPr>
        </p:nvSpPr>
        <p:spPr>
          <a:xfrm>
            <a:off x="457200" y="1723364"/>
            <a:ext cx="11288595" cy="3571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9C5E24D-2264-4B37-BBC9-253349E5F4FF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599738-D568-49F1-87EE-956C570FD9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7568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57038" y="2136645"/>
            <a:ext cx="5381445" cy="397101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57041" y="1714500"/>
            <a:ext cx="538144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0887" y="2136645"/>
            <a:ext cx="5372330" cy="397101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0887" y="1714500"/>
            <a:ext cx="5374803" cy="383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C2140F0C-FA1D-42CA-9599-41C4E3B59FD5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C52FF8-2BD1-46C1-8105-1A5862154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45746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0887" y="2064085"/>
            <a:ext cx="3552881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Headline left / Chart title"/>
          <p:cNvSpPr>
            <a:spLocks noGrp="1"/>
          </p:cNvSpPr>
          <p:nvPr>
            <p:ph type="body" sz="quarter" idx="18"/>
          </p:nvPr>
        </p:nvSpPr>
        <p:spPr>
          <a:xfrm>
            <a:off x="460887" y="1714500"/>
            <a:ext cx="355231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17849" y="2064085"/>
            <a:ext cx="3567833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8" name="Headline center / Chart title"/>
          <p:cNvSpPr>
            <a:spLocks noGrp="1"/>
          </p:cNvSpPr>
          <p:nvPr>
            <p:ph type="body" sz="quarter" idx="20"/>
          </p:nvPr>
        </p:nvSpPr>
        <p:spPr>
          <a:xfrm>
            <a:off x="4317847" y="1714500"/>
            <a:ext cx="3567833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67555" y="2064085"/>
            <a:ext cx="3552886" cy="4043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0" name="Headline right / Chart title"/>
          <p:cNvSpPr>
            <a:spLocks noGrp="1"/>
          </p:cNvSpPr>
          <p:nvPr>
            <p:ph type="body" sz="quarter" idx="22"/>
          </p:nvPr>
        </p:nvSpPr>
        <p:spPr>
          <a:xfrm>
            <a:off x="8167555" y="1714500"/>
            <a:ext cx="3552886" cy="3549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bottom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8DE0E4EB-2CC6-4FB2-8DAE-A99F30E30E6D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AB8D8EA-18D3-4433-A2E1-2A9E61E55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34420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IO_VALID_LAYOUT" hidden="1">
            <a:extLst>
              <a:ext uri="{FF2B5EF4-FFF2-40B4-BE49-F238E27FC236}">
                <a16:creationId xmlns:a16="http://schemas.microsoft.com/office/drawing/2014/main" id="{0816B9D5-85D4-465F-80F5-60CF2EBD51AB}"/>
              </a:ext>
            </a:extLst>
          </p:cNvPr>
          <p:cNvSpPr/>
          <p:nvPr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7A00CEB-6CDE-4CDE-A452-347684399B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0241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MIO_AGENDA_IGNORE_NAVIGATION" hidden="1">
            <a:extLst>
              <a:ext uri="{FF2B5EF4-FFF2-40B4-BE49-F238E27FC236}">
                <a16:creationId xmlns:a16="http://schemas.microsoft.com/office/drawing/2014/main" id="{A2163211-8843-4B3A-A173-4CC8DE6FF39B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MIO_AGENDA_IGNORE_CHAPTER_REFERENCE" hidden="1">
            <a:extLst>
              <a:ext uri="{FF2B5EF4-FFF2-40B4-BE49-F238E27FC236}">
                <a16:creationId xmlns:a16="http://schemas.microsoft.com/office/drawing/2014/main" id="{8F02921B-CECB-4A04-AB2B-50AE546A3B6D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2750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V_Templat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651600"/>
            <a:ext cx="11150350" cy="622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de-DE" noProof="0"/>
              <a:t>First Name, Name</a:t>
            </a:r>
            <a:br>
              <a:rPr lang="de-DE" noProof="0"/>
            </a:br>
            <a:r>
              <a:rPr lang="de-DE" noProof="0"/>
              <a:t>Project </a:t>
            </a:r>
            <a:r>
              <a:rPr lang="de-DE" noProof="0" err="1"/>
              <a:t>Role</a:t>
            </a:r>
            <a:endParaRPr lang="de-DE" noProof="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317500"/>
            <a:ext cx="1115035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Bildplatzhalter 3"/>
          <p:cNvSpPr>
            <a:spLocks noGrp="1" noChangeAspect="1"/>
          </p:cNvSpPr>
          <p:nvPr>
            <p:ph type="pic" sz="quarter" idx="14"/>
          </p:nvPr>
        </p:nvSpPr>
        <p:spPr>
          <a:xfrm>
            <a:off x="540000" y="1710000"/>
            <a:ext cx="1260000" cy="1260000"/>
          </a:xfrm>
        </p:spPr>
        <p:txBody>
          <a:bodyPr>
            <a:noAutofit/>
          </a:bodyPr>
          <a:lstStyle/>
          <a:p>
            <a:endParaRPr lang="en-US" noProof="0"/>
          </a:p>
        </p:txBody>
      </p:sp>
      <p:sp>
        <p:nvSpPr>
          <p:cNvPr id="7" name="Textplatzhalt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64800" y="3456000"/>
            <a:ext cx="2304000" cy="2926800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de-DE" b="0" noProof="0"/>
              <a:t>Business Skills, Technology Skills, Language</a:t>
            </a:r>
            <a:endParaRPr lang="de-DE" noProof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3348000" y="3456000"/>
            <a:ext cx="2304000" cy="2926800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de-DE" b="0" noProof="0" err="1"/>
              <a:t>Industry</a:t>
            </a:r>
            <a:r>
              <a:rPr lang="de-DE" b="0" noProof="0"/>
              <a:t> Experience, </a:t>
            </a:r>
            <a:r>
              <a:rPr lang="de-DE" b="0" noProof="0" err="1"/>
              <a:t>Certificates</a:t>
            </a:r>
            <a:r>
              <a:rPr lang="de-DE" b="0" noProof="0"/>
              <a:t>, Education</a:t>
            </a:r>
            <a:endParaRPr lang="de-DE" noProof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1861200" y="1710000"/>
            <a:ext cx="3790800" cy="1260000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de-DE" b="0" noProof="0"/>
              <a:t>First-name Name, Level, </a:t>
            </a:r>
            <a:r>
              <a:rPr lang="de-DE" b="0" noProof="0" err="1"/>
              <a:t>Offering</a:t>
            </a:r>
            <a:r>
              <a:rPr lang="de-DE" b="0" noProof="0"/>
              <a:t> Portfolio, Talent Group, Office Location</a:t>
            </a:r>
            <a:endParaRPr lang="de-DE" noProof="0"/>
          </a:p>
        </p:txBody>
      </p:sp>
      <p:sp>
        <p:nvSpPr>
          <p:cNvPr id="10" name="Textplatzhalt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6339600" y="1980000"/>
            <a:ext cx="5328000" cy="1098000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de-DE" b="0" noProof="0" err="1"/>
              <a:t>Resume</a:t>
            </a:r>
            <a:r>
              <a:rPr lang="de-DE" b="0" noProof="0"/>
              <a:t> </a:t>
            </a:r>
            <a:r>
              <a:rPr lang="de-DE" b="0" noProof="0" err="1"/>
              <a:t>text</a:t>
            </a:r>
            <a:r>
              <a:rPr lang="de-DE" b="0" noProof="0"/>
              <a:t> </a:t>
            </a:r>
            <a:r>
              <a:rPr lang="de-DE" b="0" noProof="0" err="1"/>
              <a:t>runs</a:t>
            </a:r>
            <a:r>
              <a:rPr lang="de-DE" b="0" noProof="0"/>
              <a:t> </a:t>
            </a:r>
            <a:r>
              <a:rPr lang="de-DE" b="0" noProof="0" err="1"/>
              <a:t>here</a:t>
            </a:r>
            <a:r>
              <a:rPr lang="de-DE" b="0" noProof="0"/>
              <a:t> </a:t>
            </a:r>
            <a:r>
              <a:rPr lang="de-DE" b="0" noProof="0" err="1"/>
              <a:t>this</a:t>
            </a:r>
            <a:r>
              <a:rPr lang="de-DE" b="0" noProof="0"/>
              <a:t> </a:t>
            </a:r>
            <a:r>
              <a:rPr lang="de-DE" b="0" noProof="0" err="1"/>
              <a:t>is</a:t>
            </a:r>
            <a:r>
              <a:rPr lang="de-DE" b="0" noProof="0"/>
              <a:t> </a:t>
            </a:r>
            <a:r>
              <a:rPr lang="de-DE" b="0" noProof="0" err="1"/>
              <a:t>dummy</a:t>
            </a:r>
            <a:r>
              <a:rPr lang="de-DE" b="0" noProof="0"/>
              <a:t> </a:t>
            </a:r>
            <a:r>
              <a:rPr lang="de-DE" b="0" noProof="0" err="1"/>
              <a:t>text</a:t>
            </a:r>
            <a:r>
              <a:rPr lang="de-DE" b="0" noProof="0"/>
              <a:t> </a:t>
            </a:r>
            <a:r>
              <a:rPr lang="de-DE" b="0" noProof="0" err="1"/>
              <a:t>it</a:t>
            </a:r>
            <a:r>
              <a:rPr lang="de-DE" b="0" noProof="0"/>
              <a:t> </a:t>
            </a:r>
            <a:r>
              <a:rPr lang="de-DE" b="0" noProof="0" err="1"/>
              <a:t>is</a:t>
            </a:r>
            <a:r>
              <a:rPr lang="de-DE" b="0" noProof="0"/>
              <a:t> not </a:t>
            </a:r>
            <a:r>
              <a:rPr lang="de-DE" b="0" noProof="0" err="1"/>
              <a:t>here</a:t>
            </a:r>
            <a:r>
              <a:rPr lang="de-DE" b="0" noProof="0"/>
              <a:t> </a:t>
            </a:r>
            <a:r>
              <a:rPr lang="de-DE" b="0" noProof="0" err="1"/>
              <a:t>to</a:t>
            </a:r>
            <a:r>
              <a:rPr lang="de-DE" b="0" noProof="0"/>
              <a:t> </a:t>
            </a:r>
            <a:r>
              <a:rPr lang="de-DE" b="0" noProof="0" err="1"/>
              <a:t>be</a:t>
            </a:r>
            <a:r>
              <a:rPr lang="de-DE" b="0" noProof="0"/>
              <a:t> </a:t>
            </a:r>
            <a:r>
              <a:rPr lang="de-DE" b="0" noProof="0" err="1"/>
              <a:t>read</a:t>
            </a:r>
            <a:r>
              <a:rPr lang="de-DE" b="0" noProof="0"/>
              <a:t> </a:t>
            </a:r>
            <a:r>
              <a:rPr lang="de-DE" b="0" noProof="0" err="1"/>
              <a:t>it</a:t>
            </a:r>
            <a:r>
              <a:rPr lang="de-DE" b="0" noProof="0"/>
              <a:t> </a:t>
            </a:r>
            <a:r>
              <a:rPr lang="de-DE" b="0" noProof="0" err="1"/>
              <a:t>is</a:t>
            </a:r>
            <a:r>
              <a:rPr lang="de-DE" b="0" noProof="0"/>
              <a:t> </a:t>
            </a:r>
            <a:r>
              <a:rPr lang="de-DE" b="0" noProof="0" err="1"/>
              <a:t>here</a:t>
            </a:r>
            <a:r>
              <a:rPr lang="de-DE" b="0" noProof="0"/>
              <a:t> </a:t>
            </a:r>
            <a:r>
              <a:rPr lang="de-DE" b="0" noProof="0" err="1"/>
              <a:t>to</a:t>
            </a:r>
            <a:r>
              <a:rPr lang="de-DE" b="0" noProof="0"/>
              <a:t> </a:t>
            </a:r>
            <a:r>
              <a:rPr lang="de-DE" b="0" noProof="0" err="1"/>
              <a:t>show</a:t>
            </a:r>
            <a:r>
              <a:rPr lang="de-DE" b="0" noProof="0"/>
              <a:t> </a:t>
            </a:r>
            <a:r>
              <a:rPr lang="de-DE" b="0" noProof="0" err="1"/>
              <a:t>how</a:t>
            </a:r>
            <a:r>
              <a:rPr lang="de-DE" b="0" noProof="0"/>
              <a:t> </a:t>
            </a:r>
            <a:r>
              <a:rPr lang="de-DE" b="0" noProof="0" err="1"/>
              <a:t>this</a:t>
            </a:r>
            <a:r>
              <a:rPr lang="de-DE" b="0" noProof="0"/>
              <a:t> </a:t>
            </a:r>
            <a:r>
              <a:rPr lang="de-DE" b="0" noProof="0" err="1"/>
              <a:t>document</a:t>
            </a:r>
            <a:r>
              <a:rPr lang="de-DE" b="0" noProof="0"/>
              <a:t> will </a:t>
            </a:r>
            <a:r>
              <a:rPr lang="de-DE" b="0" noProof="0" err="1"/>
              <a:t>look</a:t>
            </a:r>
            <a:r>
              <a:rPr lang="de-DE" b="0" noProof="0"/>
              <a:t> </a:t>
            </a:r>
            <a:r>
              <a:rPr lang="de-DE" b="0" noProof="0" err="1"/>
              <a:t>when</a:t>
            </a:r>
            <a:r>
              <a:rPr lang="de-DE" b="0" noProof="0"/>
              <a:t> </a:t>
            </a:r>
            <a:r>
              <a:rPr lang="de-DE" b="0" noProof="0" err="1"/>
              <a:t>populated</a:t>
            </a:r>
            <a:r>
              <a:rPr lang="de-DE" b="0" noProof="0"/>
              <a:t> </a:t>
            </a:r>
            <a:r>
              <a:rPr lang="de-DE" b="0" noProof="0" err="1"/>
              <a:t>with</a:t>
            </a:r>
            <a:r>
              <a:rPr lang="de-DE" b="0" noProof="0"/>
              <a:t> real </a:t>
            </a:r>
            <a:r>
              <a:rPr lang="de-DE" b="0" noProof="0" err="1"/>
              <a:t>text</a:t>
            </a:r>
            <a:r>
              <a:rPr lang="de-DE" b="0" noProof="0"/>
              <a:t>.</a:t>
            </a:r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159600" y="3456000"/>
            <a:ext cx="5508000" cy="2250000"/>
          </a:xfrm>
        </p:spPr>
        <p:txBody>
          <a:bodyPr>
            <a:noAutofit/>
          </a:bodyPr>
          <a:lstStyle>
            <a:lvl1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 sz="10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de-DE" b="0" noProof="0" err="1"/>
              <a:t>Industry</a:t>
            </a:r>
            <a:r>
              <a:rPr lang="de-DE" b="0" noProof="0"/>
              <a:t>: </a:t>
            </a:r>
            <a:r>
              <a:rPr lang="de-DE" b="0" noProof="0" err="1"/>
              <a:t>Scope</a:t>
            </a:r>
            <a:r>
              <a:rPr lang="de-DE" b="0" noProof="0"/>
              <a:t>: Technology:</a:t>
            </a:r>
          </a:p>
          <a:p>
            <a:pPr lvl="0"/>
            <a:endParaRPr lang="de-DE" b="0" noProof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6339600" y="6055200"/>
            <a:ext cx="5328000" cy="324000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Aft>
                <a:spcPts val="0"/>
              </a:spcAft>
              <a:defRPr b="0"/>
            </a:lvl2pPr>
            <a:lvl3pPr>
              <a:spcAft>
                <a:spcPts val="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de-DE" b="0" noProof="0"/>
              <a:t>Client AG, Client Solutions GmbH, Client Ltd.</a:t>
            </a:r>
          </a:p>
          <a:p>
            <a:pPr lvl="0"/>
            <a:endParaRPr lang="de-DE" b="0" noProof="0"/>
          </a:p>
        </p:txBody>
      </p:sp>
    </p:spTree>
    <p:extLst>
      <p:ext uri="{BB962C8B-B14F-4D97-AF65-F5344CB8AC3E}">
        <p14:creationId xmlns:p14="http://schemas.microsoft.com/office/powerpoint/2010/main" val="125714631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6936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B33AFD28-F06F-4496-B660-E40557BF44B7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MIO_AGENDA_IGNORE_CHAPTER_REFERENCE" hidden="1">
            <a:extLst>
              <a:ext uri="{FF2B5EF4-FFF2-40B4-BE49-F238E27FC236}">
                <a16:creationId xmlns:a16="http://schemas.microsoft.com/office/drawing/2014/main" id="{9233F6B7-3A6D-4D1B-A7FB-196EDC508EE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882A5C28-0BF5-4D8F-94C9-8EE9CE72457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8F3C3DFA-9FB3-46AB-BDF5-39E1DC27293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6FC1D4-487D-4C1C-A92F-A0C6E30EA16B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900" baseline="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25034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9901" y="1728217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8361DA31-7C99-49AA-A40D-CC798429750C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D1BC51F7-D24C-4262-85CD-7EFD0E8E4885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7D770CEC-7A1C-4675-B9F6-4684B6BC5EE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32612B95-CBCE-43BD-ACD5-F7E8E28AD6C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0997DD9-C2E6-4412-906F-CEA396FE065F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900" baseline="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05073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0837ED46-4108-4499-BE40-E17599CFD675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BD69D7E4-8FB7-4417-A428-3FC842962DF0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EE7151CE-534A-4DA8-B077-606246FFE4A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F6D2D6D-4A12-45B7-A359-4B35E6BD19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5B17B4-6589-41B3-A983-093BB26C9BCC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900" baseline="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49163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MIO_AGENDA_IGNORE_NAVIGATION" hidden="1">
            <a:extLst>
              <a:ext uri="{FF2B5EF4-FFF2-40B4-BE49-F238E27FC236}">
                <a16:creationId xmlns:a16="http://schemas.microsoft.com/office/drawing/2014/main" id="{9FC4547F-C195-4067-8008-B68776595B5D}"/>
              </a:ext>
            </a:extLst>
          </p:cNvPr>
          <p:cNvSpPr/>
          <p:nvPr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MIO_AGENDA_IGNORE_CHAPTER_REFERENCE" hidden="1">
            <a:extLst>
              <a:ext uri="{FF2B5EF4-FFF2-40B4-BE49-F238E27FC236}">
                <a16:creationId xmlns:a16="http://schemas.microsoft.com/office/drawing/2014/main" id="{12EACD47-41DE-4CD2-A21A-14DBE7C985AF}"/>
              </a:ext>
            </a:extLst>
          </p:cNvPr>
          <p:cNvSpPr/>
          <p:nvPr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6354E020-0B8B-4490-8FBE-69D3AA2C5D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35184" y="6519673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1775EE3B-1424-455C-B471-9011952BEC3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8004DD8-5CCD-47AF-881E-102D039801F2}"/>
              </a:ext>
            </a:extLst>
          </p:cNvPr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baseline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900" baseline="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88896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68132F1-0C2E-4F7F-A5B1-1F434D8FA5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3534269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415" imgH="416" progId="TCLayout.ActiveDocument.1">
                  <p:embed/>
                </p:oleObj>
              </mc:Choice>
              <mc:Fallback>
                <p:oleObj name="think-cell Slide" r:id="rId56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68132F1-0C2E-4F7F-A5B1-1F434D8FA5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8" name="Copyright"/>
          <p:cNvSpPr txBox="1"/>
          <p:nvPr>
            <p:custDataLst>
              <p:tags r:id="rId53"/>
            </p:custDataLst>
          </p:nvPr>
        </p:nvSpPr>
        <p:spPr>
          <a:xfrm>
            <a:off x="457200" y="651506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2022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426826" y="651967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empower - DO NOT DELETE!!!">
            <a:extLst>
              <a:ext uri="{FF2B5EF4-FFF2-40B4-BE49-F238E27FC236}">
                <a16:creationId xmlns:a16="http://schemas.microsoft.com/office/drawing/2014/main" id="{AF3F685E-75BA-4AAC-8247-5B8C55DC34A1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010D3BDB-9505-4DFA-9DF5-8ABBE694D4C1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921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58" r:id="rId2"/>
    <p:sldLayoutId id="2147483682" r:id="rId3"/>
    <p:sldLayoutId id="2147483672" r:id="rId4"/>
    <p:sldLayoutId id="2147483667" r:id="rId5"/>
    <p:sldLayoutId id="2147483692" r:id="rId6"/>
    <p:sldLayoutId id="2147483657" r:id="rId7"/>
    <p:sldLayoutId id="2147483681" r:id="rId8"/>
    <p:sldLayoutId id="2147483673" r:id="rId9"/>
    <p:sldLayoutId id="2147483668" r:id="rId10"/>
    <p:sldLayoutId id="2147483661" r:id="rId11"/>
    <p:sldLayoutId id="2147483683" r:id="rId12"/>
    <p:sldLayoutId id="2147483649" r:id="rId13"/>
    <p:sldLayoutId id="2147483674" r:id="rId14"/>
    <p:sldLayoutId id="2147483693" r:id="rId15"/>
    <p:sldLayoutId id="2147483659" r:id="rId16"/>
    <p:sldLayoutId id="2147483684" r:id="rId17"/>
    <p:sldLayoutId id="2147483650" r:id="rId18"/>
    <p:sldLayoutId id="2147483669" r:id="rId19"/>
    <p:sldLayoutId id="2147483689" r:id="rId20"/>
    <p:sldLayoutId id="2147483653" r:id="rId21"/>
    <p:sldLayoutId id="2147483675" r:id="rId22"/>
    <p:sldLayoutId id="2147483694" r:id="rId23"/>
    <p:sldLayoutId id="2147483662" r:id="rId24"/>
    <p:sldLayoutId id="2147483685" r:id="rId25"/>
    <p:sldLayoutId id="2147483651" r:id="rId26"/>
    <p:sldLayoutId id="2147483676" r:id="rId27"/>
    <p:sldLayoutId id="2147483695" r:id="rId28"/>
    <p:sldLayoutId id="2147483660" r:id="rId29"/>
    <p:sldLayoutId id="2147483677" r:id="rId30"/>
    <p:sldLayoutId id="2147483670" r:id="rId31"/>
    <p:sldLayoutId id="2147483663" r:id="rId32"/>
    <p:sldLayoutId id="2147483686" r:id="rId33"/>
    <p:sldLayoutId id="2147483654" r:id="rId34"/>
    <p:sldLayoutId id="2147483678" r:id="rId35"/>
    <p:sldLayoutId id="2147483696" r:id="rId36"/>
    <p:sldLayoutId id="2147483664" r:id="rId37"/>
    <p:sldLayoutId id="2147483687" r:id="rId38"/>
    <p:sldLayoutId id="2147483652" r:id="rId39"/>
    <p:sldLayoutId id="2147483665" r:id="rId40"/>
    <p:sldLayoutId id="2147483690" r:id="rId41"/>
    <p:sldLayoutId id="2147483655" r:id="rId42"/>
    <p:sldLayoutId id="2147483679" r:id="rId43"/>
    <p:sldLayoutId id="2147483671" r:id="rId44"/>
    <p:sldLayoutId id="2147483666" r:id="rId45"/>
    <p:sldLayoutId id="2147483688" r:id="rId46"/>
    <p:sldLayoutId id="2147483656" r:id="rId47"/>
    <p:sldLayoutId id="2147483680" r:id="rId48"/>
    <p:sldLayoutId id="2147483697" r:id="rId49"/>
    <p:sldLayoutId id="2147483698" r:id="rId50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200" b="1" kern="1200" dirty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267300" indent="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None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>
          <p15:clr>
            <a:srgbClr val="F26B43"/>
          </p15:clr>
        </p15:guide>
        <p15:guide id="49" orient="horz" pos="436">
          <p15:clr>
            <a:srgbClr val="F26B43"/>
          </p15:clr>
        </p15:guide>
        <p15:guide id="68" orient="horz" pos="4104">
          <p15:clr>
            <a:srgbClr val="F26B43"/>
          </p15:clr>
        </p15:guide>
        <p15:guide id="69" orient="horz" pos="2088">
          <p15:clr>
            <a:srgbClr val="F26B43"/>
          </p15:clr>
        </p15:guide>
        <p15:guide id="70" orient="horz" pos="1080">
          <p15:clr>
            <a:srgbClr val="F26B43"/>
          </p15:clr>
        </p15:guide>
        <p15:guide id="71" orient="horz" pos="216">
          <p15:clr>
            <a:srgbClr val="F26B43"/>
          </p15:clr>
        </p15:guide>
        <p15:guide id="72" pos="3840">
          <p15:clr>
            <a:srgbClr val="F26B43"/>
          </p15:clr>
        </p15:guide>
        <p15:guide id="73" pos="3936">
          <p15:clr>
            <a:srgbClr val="F26B43"/>
          </p15:clr>
        </p15:guide>
        <p15:guide id="74" pos="288">
          <p15:clr>
            <a:srgbClr val="F26B43"/>
          </p15:clr>
        </p15:guide>
        <p15:guide id="75" pos="4960">
          <p15:clr>
            <a:srgbClr val="F26B43"/>
          </p15:clr>
        </p15:guide>
        <p15:guide id="76" pos="3744">
          <p15:clr>
            <a:srgbClr val="F26B43"/>
          </p15:clr>
        </p15:guide>
        <p15:guide id="77" pos="2720">
          <p15:clr>
            <a:srgbClr val="F26B43"/>
          </p15:clr>
        </p15:guide>
        <p15:guide id="78" pos="2528">
          <p15:clr>
            <a:srgbClr val="F26B43"/>
          </p15:clr>
        </p15:guide>
        <p15:guide id="79" pos="1312">
          <p15:clr>
            <a:srgbClr val="F26B43"/>
          </p15:clr>
        </p15:guide>
        <p15:guide id="80" pos="1504">
          <p15:clr>
            <a:srgbClr val="F26B43"/>
          </p15:clr>
        </p15:guide>
        <p15:guide id="81" pos="5152">
          <p15:clr>
            <a:srgbClr val="F26B43"/>
          </p15:clr>
        </p15:guide>
        <p15:guide id="82" pos="6176">
          <p15:clr>
            <a:srgbClr val="F26B43"/>
          </p15:clr>
        </p15:guide>
        <p15:guide id="83" pos="6368">
          <p15:clr>
            <a:srgbClr val="F26B43"/>
          </p15:clr>
        </p15:guide>
        <p15:guide id="84" pos="7392">
          <p15:clr>
            <a:srgbClr val="F26B43"/>
          </p15:clr>
        </p15:guide>
        <p15:guide id="85" orient="horz" pos="21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rofi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31651" y="658683"/>
            <a:ext cx="3459382" cy="70486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de-DE" err="1">
                <a:cs typeface="Calibri Light"/>
              </a:rPr>
              <a:t>Aradhana</a:t>
            </a:r>
            <a:br>
              <a:rPr lang="de-DE">
                <a:cs typeface="Calibri Light"/>
              </a:rPr>
            </a:br>
            <a:r>
              <a:rPr lang="de-DE">
                <a:solidFill>
                  <a:srgbClr val="323130"/>
                </a:solidFill>
                <a:latin typeface="Segoe UI"/>
                <a:cs typeface="Segoe UI"/>
              </a:rPr>
              <a:t>SAP  </a:t>
            </a:r>
            <a:r>
              <a:rPr lang="de-DE" err="1">
                <a:solidFill>
                  <a:srgbClr val="323130"/>
                </a:solidFill>
                <a:latin typeface="Segoe UI"/>
                <a:cs typeface="Segoe UI"/>
              </a:rPr>
              <a:t>Consumption</a:t>
            </a:r>
            <a:r>
              <a:rPr lang="de-DE">
                <a:solidFill>
                  <a:srgbClr val="323130"/>
                </a:solidFill>
                <a:latin typeface="Segoe UI"/>
                <a:cs typeface="Segoe UI"/>
              </a:rPr>
              <a:t> Management</a:t>
            </a:r>
            <a:endParaRPr lang="de-DE">
              <a:ea typeface="Calibri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en-GB" sz="1400">
                <a:latin typeface="Calibri"/>
                <a:ea typeface="Calibri"/>
                <a:cs typeface="Calibri"/>
              </a:rPr>
              <a:t>Technology Skills</a:t>
            </a:r>
          </a:p>
          <a:p>
            <a:pPr marL="171450" lvl="2" indent="-171450">
              <a:buFont typeface="Arial" panose="020B0604020202020204" pitchFamily="34" charset="0"/>
              <a:buChar char="•"/>
              <a:defRPr/>
            </a:pPr>
            <a:r>
              <a:rPr lang="en-US" sz="1100">
                <a:latin typeface="Calibri"/>
                <a:ea typeface="Calibri"/>
                <a:cs typeface="Calibri"/>
              </a:rPr>
              <a:t>Html ,Css , </a:t>
            </a:r>
            <a:r>
              <a:rPr lang="en-US" sz="1100" err="1">
                <a:latin typeface="Calibri"/>
                <a:ea typeface="Calibri"/>
                <a:cs typeface="Calibri"/>
              </a:rPr>
              <a:t>Javascript</a:t>
            </a:r>
            <a:endParaRPr lang="en-US" sz="1100">
              <a:latin typeface="Calibri"/>
              <a:ea typeface="Calibri"/>
              <a:cs typeface="Calibri"/>
            </a:endParaRPr>
          </a:p>
          <a:p>
            <a:pPr marL="171450" lvl="2" indent="-171450">
              <a:buFont typeface="Arial" panose="020B0604020202020204" pitchFamily="34" charset="0"/>
              <a:buChar char="•"/>
              <a:defRPr/>
            </a:pPr>
            <a:r>
              <a:rPr lang="en-US" sz="1100">
                <a:latin typeface="Calibri"/>
                <a:ea typeface="Calibri"/>
                <a:cs typeface="Calibri"/>
              </a:rPr>
              <a:t>React.js</a:t>
            </a:r>
          </a:p>
          <a:p>
            <a:pPr marL="171450" lvl="2" indent="-171450">
              <a:buFont typeface="Arial" panose="020B0604020202020204" pitchFamily="34" charset="0"/>
              <a:buChar char="•"/>
              <a:defRPr/>
            </a:pPr>
            <a:r>
              <a:rPr lang="en-US" sz="1100">
                <a:latin typeface="Calibri"/>
                <a:ea typeface="Calibri"/>
                <a:cs typeface="Calibri"/>
              </a:rPr>
              <a:t>Next.js</a:t>
            </a:r>
          </a:p>
          <a:p>
            <a:pPr marL="171450" lvl="2" indent="-171450">
              <a:buFont typeface="Arial" panose="020B0604020202020204" pitchFamily="34" charset="0"/>
              <a:buChar char="•"/>
              <a:defRPr/>
            </a:pPr>
            <a:r>
              <a:rPr lang="en-US" sz="1100">
                <a:latin typeface="Calibri"/>
                <a:ea typeface="Calibri"/>
                <a:cs typeface="Calibri"/>
              </a:rPr>
              <a:t>C,C++</a:t>
            </a:r>
          </a:p>
          <a:p>
            <a:pPr marL="171450" lvl="2" indent="-171450">
              <a:buFont typeface="Arial" panose="020B0604020202020204" pitchFamily="34" charset="0"/>
              <a:buChar char="•"/>
              <a:defRPr/>
            </a:pPr>
            <a:r>
              <a:rPr lang="en-US" sz="1100">
                <a:latin typeface="Calibri"/>
                <a:ea typeface="Calibri"/>
                <a:cs typeface="Calibri"/>
              </a:rPr>
              <a:t>Tailwind</a:t>
            </a:r>
          </a:p>
          <a:p>
            <a:pPr marL="171450" lvl="2" indent="-171450">
              <a:buChar char="•"/>
              <a:defRPr/>
            </a:pPr>
            <a:r>
              <a:rPr lang="en-US" sz="1100" err="1">
                <a:latin typeface="Calibri"/>
                <a:ea typeface="Calibri"/>
                <a:cs typeface="Calibri"/>
              </a:rPr>
              <a:t>Sql</a:t>
            </a:r>
            <a:endParaRPr lang="en-US" sz="1100" err="1">
              <a:latin typeface="Calibri" panose="020F0502020204030204" pitchFamily="34" charset="0"/>
              <a:ea typeface="Calibri"/>
              <a:cs typeface="Calibri" panose="020F0502020204030204" pitchFamily="34" charset="0"/>
            </a:endParaRPr>
          </a:p>
          <a:p>
            <a:pPr lvl="2">
              <a:defRPr/>
            </a:pPr>
            <a:endParaRPr lang="en-US" sz="1100">
              <a:latin typeface="Calibri" panose="020F0502020204030204" pitchFamily="34" charset="0"/>
              <a:ea typeface="Calibri"/>
              <a:cs typeface="Calibri" panose="020F0502020204030204" pitchFamily="34" charset="0"/>
            </a:endParaRPr>
          </a:p>
          <a:p>
            <a:pPr lvl="0">
              <a:spcBef>
                <a:spcPts val="600"/>
              </a:spcBef>
              <a:defRPr/>
            </a:pPr>
            <a:r>
              <a:rPr lang="en-GB" sz="1400">
                <a:latin typeface="Calibri"/>
                <a:ea typeface="Calibri"/>
                <a:cs typeface="Calibri"/>
              </a:rPr>
              <a:t>Languages</a:t>
            </a:r>
            <a:endParaRPr lang="en-GB" sz="1600">
              <a:latin typeface="Calibri"/>
              <a:ea typeface="Calibri"/>
              <a:cs typeface="Calibri"/>
            </a:endParaRPr>
          </a:p>
          <a:p>
            <a:pPr marL="171450" lvl="2" indent="-171450">
              <a:buFont typeface="Arial" panose="020B0604020202020204" pitchFamily="34" charset="0"/>
              <a:buChar char="•"/>
              <a:defRPr/>
            </a:pPr>
            <a:r>
              <a:rPr lang="en-GB" sz="1100">
                <a:latin typeface="Calibri"/>
                <a:ea typeface="Calibri"/>
                <a:cs typeface="Calibri"/>
              </a:rPr>
              <a:t>English</a:t>
            </a:r>
          </a:p>
          <a:p>
            <a:pPr marL="171450" lvl="2" indent="-171450">
              <a:buFont typeface="Arial" panose="020B0604020202020204" pitchFamily="34" charset="0"/>
              <a:buChar char="•"/>
              <a:defRPr/>
            </a:pPr>
            <a:r>
              <a:rPr lang="en-GB" sz="1100">
                <a:latin typeface="Calibri"/>
                <a:ea typeface="Calibri"/>
                <a:cs typeface="Calibri"/>
              </a:rPr>
              <a:t>Hindi</a:t>
            </a:r>
          </a:p>
          <a:p>
            <a:pPr marL="171450" lvl="2" indent="-171450">
              <a:buFont typeface="Arial" panose="020B0604020202020204" pitchFamily="34" charset="0"/>
              <a:buChar char="•"/>
              <a:defRPr/>
            </a:pPr>
            <a:endParaRPr lang="en-GB" sz="11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3431357" y="3436714"/>
            <a:ext cx="1525446" cy="2206961"/>
          </a:xfrm>
        </p:spPr>
        <p:txBody>
          <a:bodyPr vert="horz" lIns="0" tIns="0" rIns="0" bIns="0" rtlCol="0" anchor="t">
            <a:no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en-GB" sz="1400">
                <a:latin typeface="Calibri"/>
                <a:ea typeface="Calibri"/>
                <a:cs typeface="Calibri"/>
              </a:rPr>
              <a:t>Industry Experience</a:t>
            </a:r>
          </a:p>
          <a:p>
            <a:pPr marL="171450" lvl="2" indent="-171450">
              <a:buFont typeface="Arial" panose="020B0604020202020204" pitchFamily="34" charset="0"/>
              <a:buChar char="•"/>
              <a:defRPr/>
            </a:pPr>
            <a:r>
              <a:rPr lang="en-GB" sz="1100">
                <a:latin typeface="Calibri"/>
                <a:ea typeface="Calibri"/>
                <a:cs typeface="Calibri"/>
              </a:rPr>
              <a:t>Frontend developer</a:t>
            </a:r>
          </a:p>
          <a:p>
            <a:pPr lvl="0">
              <a:spcBef>
                <a:spcPts val="600"/>
              </a:spcBef>
              <a:defRPr/>
            </a:pPr>
            <a:r>
              <a:rPr lang="en-GB" sz="1400">
                <a:latin typeface="Calibri"/>
                <a:ea typeface="Calibri"/>
                <a:cs typeface="Calibri"/>
              </a:rPr>
              <a:t>Education</a:t>
            </a:r>
            <a:endParaRPr lang="en-GB" sz="1600">
              <a:latin typeface="Calibri"/>
              <a:ea typeface="Calibri"/>
              <a:cs typeface="Calibri"/>
            </a:endParaRPr>
          </a:p>
          <a:p>
            <a:pPr marL="171450" lvl="2" indent="-171450" fontAlgn="base">
              <a:buFont typeface="Arial" panose="020B0604020202020204" pitchFamily="34" charset="0"/>
              <a:buChar char="•"/>
              <a:defRPr/>
            </a:pPr>
            <a:r>
              <a:rPr lang="en-US" altLang="ja-JP" sz="1100">
                <a:latin typeface="Calibri"/>
                <a:ea typeface="Calibri"/>
                <a:cs typeface="Calibri"/>
              </a:rPr>
              <a:t>Bachelor of Technology: Computer Science and Engineering</a:t>
            </a:r>
            <a:endParaRPr lang="en-US" altLang="ja-JP" sz="1100">
              <a:latin typeface="Calibri" panose="020F0502020204030204" pitchFamily="34" charset="0"/>
              <a:ea typeface="Calibri"/>
              <a:cs typeface="Calibri" panose="020F050202020403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5"/>
          </p:nvPr>
        </p:nvSpPr>
        <p:spPr>
          <a:xfrm>
            <a:off x="1679236" y="1890136"/>
            <a:ext cx="2435564" cy="1090736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Aft>
                <a:spcPts val="0"/>
              </a:spcAft>
            </a:pPr>
            <a:r>
              <a:rPr lang="en-GB" sz="1200" b="1">
                <a:latin typeface="Calibri"/>
                <a:ea typeface="Calibri"/>
                <a:cs typeface="Calibri"/>
              </a:rPr>
              <a:t>Aradhana, </a:t>
            </a:r>
          </a:p>
          <a:p>
            <a:pPr>
              <a:spcAft>
                <a:spcPts val="0"/>
              </a:spcAft>
            </a:pPr>
            <a:r>
              <a:rPr lang="en-GB" sz="1200">
                <a:latin typeface="Calibri"/>
                <a:ea typeface="Calibri"/>
                <a:cs typeface="Calibri"/>
              </a:rPr>
              <a:t>SAP Consumption Management</a:t>
            </a:r>
          </a:p>
          <a:p>
            <a:pPr lvl="0">
              <a:spcAft>
                <a:spcPts val="0"/>
              </a:spcAft>
            </a:pPr>
            <a:r>
              <a:rPr lang="en-GB" sz="1200">
                <a:latin typeface="Calibri"/>
                <a:ea typeface="Calibri"/>
                <a:cs typeface="Calibri"/>
              </a:rPr>
              <a:t>Deloitte India</a:t>
            </a:r>
          </a:p>
          <a:p>
            <a:pPr lvl="0">
              <a:spcAft>
                <a:spcPts val="0"/>
              </a:spcAft>
            </a:pPr>
            <a:r>
              <a:rPr lang="en-GB" sz="1200">
                <a:latin typeface="Calibri"/>
                <a:ea typeface="Calibri"/>
                <a:cs typeface="Calibri"/>
              </a:rPr>
              <a:t>email : aaradhana@deloitte.com</a:t>
            </a:r>
            <a:br>
              <a:rPr lang="en-GB" sz="1200"/>
            </a:br>
            <a:r>
              <a:rPr lang="en-GB" sz="1200">
                <a:latin typeface="Calibri"/>
                <a:ea typeface="Calibri"/>
                <a:cs typeface="Calibri"/>
              </a:rPr>
              <a:t>Mobile: +91-8630273166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6"/>
          </p:nvPr>
        </p:nvSpPr>
        <p:spPr>
          <a:xfrm>
            <a:off x="5318501" y="1532302"/>
            <a:ext cx="5992230" cy="1446745"/>
          </a:xfrm>
        </p:spPr>
        <p:txBody>
          <a:bodyPr vert="horz" lIns="0" tIns="0" rIns="0" bIns="0" rtlCol="0" anchor="t">
            <a:noAutofit/>
          </a:bodyPr>
          <a:lstStyle/>
          <a:p>
            <a:pPr algn="just"/>
            <a:r>
              <a:rPr lang="en-GB" sz="1400" dirty="0">
                <a:latin typeface="Calibri"/>
                <a:ea typeface="Calibri"/>
                <a:cs typeface="Calibri"/>
              </a:rPr>
              <a:t>Recently onboarded as an Analyst , focusing on learning SAP systems and support business process analysis . Actively participating in training sessions to upskill in SAP modules and other related technologies. </a:t>
            </a:r>
            <a:endParaRPr lang="en-US" sz="1400" dirty="0"/>
          </a:p>
          <a:p>
            <a:pPr algn="just"/>
            <a:endParaRPr lang="en-US" sz="1200">
              <a:ea typeface="Calibri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27"/>
          </p:nvPr>
        </p:nvSpPr>
        <p:spPr>
          <a:xfrm>
            <a:off x="5322349" y="3581422"/>
            <a:ext cx="6368001" cy="2794042"/>
          </a:xfrm>
        </p:spPr>
        <p:txBody>
          <a:bodyPr vert="horz" lIns="0" tIns="0" rIns="0" bIns="0" rtlCol="0" anchor="t">
            <a:noAutofit/>
          </a:bodyPr>
          <a:lstStyle/>
          <a:p>
            <a:pPr marL="0" indent="0" algn="just" defTabSz="949106">
              <a:buNone/>
              <a:defRPr/>
            </a:pPr>
            <a:endParaRPr lang="en-US" sz="1400" dirty="0"/>
          </a:p>
          <a:p>
            <a:pPr marL="175895" indent="-175895" algn="just" defTabSz="949106">
              <a:defRPr/>
            </a:pPr>
            <a:r>
              <a:rPr lang="en-US" sz="1400" b="1" dirty="0">
                <a:latin typeface="Calibri"/>
                <a:cs typeface="Calibri"/>
              </a:rPr>
              <a:t>E-commerce Websites</a:t>
            </a:r>
            <a:r>
              <a:rPr lang="en-US" sz="1400" dirty="0">
                <a:latin typeface="Calibri"/>
                <a:cs typeface="Calibri"/>
              </a:rPr>
              <a:t>: You have built e-commerce websites using </a:t>
            </a:r>
            <a:r>
              <a:rPr lang="en-US" sz="1400" b="1" dirty="0">
                <a:latin typeface="Calibri"/>
                <a:cs typeface="Calibri"/>
              </a:rPr>
              <a:t>HTML, CSS, JavaScript, React, and Tailwind</a:t>
            </a:r>
            <a:r>
              <a:rPr lang="en-US" sz="1400" dirty="0">
                <a:latin typeface="Calibri"/>
                <a:cs typeface="Calibri"/>
              </a:rPr>
              <a:t>, incorporating functionalities like product listings, shopping carts, and user authentication.</a:t>
            </a:r>
            <a:endParaRPr lang="en-US" sz="1400" dirty="0"/>
          </a:p>
          <a:p>
            <a:pPr marL="175895" indent="-175895" algn="just" defTabSz="949106">
              <a:defRPr/>
            </a:pPr>
            <a:r>
              <a:rPr lang="en-US" sz="1400" b="1" dirty="0">
                <a:latin typeface="Calibri"/>
                <a:cs typeface="Calibri"/>
              </a:rPr>
              <a:t>Online Movie Booking Systems</a:t>
            </a:r>
            <a:r>
              <a:rPr lang="en-US" sz="1400" dirty="0">
                <a:latin typeface="Calibri"/>
                <a:cs typeface="Calibri"/>
              </a:rPr>
              <a:t>: You developed the frontend of online movie booking systems with similar technologies, focusing on user interface and seat selection functionalities.</a:t>
            </a:r>
            <a:endParaRPr lang="en-US" sz="1400" dirty="0"/>
          </a:p>
          <a:p>
            <a:pPr marL="175895" indent="-175895" algn="just" defTabSz="949106">
              <a:defRPr/>
            </a:pPr>
            <a:r>
              <a:rPr lang="en-US" sz="1400" b="1">
                <a:latin typeface="Calibri"/>
                <a:ea typeface="Calibri"/>
                <a:cs typeface="Calibri"/>
              </a:rPr>
              <a:t>Frontend Development for Generative AI</a:t>
            </a:r>
            <a:r>
              <a:rPr lang="en-US" sz="1400">
                <a:latin typeface="Calibri"/>
                <a:ea typeface="Calibri"/>
                <a:cs typeface="Calibri"/>
              </a:rPr>
              <a:t>: Built and optimized responsive, interactive user interfaces for AI-driven applications using Next.js and Tailwind CSS, enhancing performance and user experience.</a:t>
            </a:r>
          </a:p>
          <a:p>
            <a:pPr marL="175895" indent="-175895" algn="just" defTabSz="949106">
              <a:defRPr/>
            </a:pPr>
            <a:r>
              <a:rPr lang="en-US" sz="1400">
                <a:latin typeface="Calibri"/>
                <a:ea typeface="Calibri"/>
                <a:cs typeface="Calibri"/>
              </a:rPr>
              <a:t>Collaborated with backend teams to visualize AI outputs through real-time data displays and intuitive dashboards, improving overall usability.</a:t>
            </a:r>
            <a:endParaRPr lang="en-US"/>
          </a:p>
          <a:p>
            <a:pPr marL="175895" indent="-175895" algn="just" defTabSz="949106">
              <a:defRPr/>
            </a:pPr>
            <a:r>
              <a:rPr lang="en-US" sz="1400" dirty="0">
                <a:latin typeface="Calibri"/>
                <a:ea typeface="Calibri"/>
                <a:cs typeface="Calibri"/>
              </a:rPr>
              <a:t>Integrated dark mode, accessibility features, and interactive design elements to ensure adaptability, inclusivity, and a seamless user experience.</a:t>
            </a:r>
            <a:endParaRPr lang="en-US" sz="1400" dirty="0"/>
          </a:p>
          <a:p>
            <a:pPr marL="175895" indent="-175895" algn="just" defTabSz="949106">
              <a:defRPr/>
            </a:pPr>
            <a:endParaRPr lang="en-US" sz="1400" dirty="0">
              <a:latin typeface="Calibri"/>
              <a:ea typeface="Calibri"/>
              <a:cs typeface="Calibri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535855" y="3084689"/>
            <a:ext cx="5113972" cy="371888"/>
            <a:chOff x="535855" y="3075545"/>
            <a:chExt cx="5113972" cy="371888"/>
          </a:xfrm>
        </p:grpSpPr>
        <p:cxnSp>
          <p:nvCxnSpPr>
            <p:cNvPr id="15" name="Straight Connector 14"/>
            <p:cNvCxnSpPr>
              <a:cxnSpLocks/>
            </p:cNvCxnSpPr>
            <p:nvPr userDrawn="1"/>
          </p:nvCxnSpPr>
          <p:spPr>
            <a:xfrm flipV="1">
              <a:off x="965968" y="3356244"/>
              <a:ext cx="3775714" cy="12891"/>
            </a:xfrm>
            <a:prstGeom prst="line">
              <a:avLst/>
            </a:prstGeom>
            <a:ln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 userDrawn="1"/>
          </p:nvSpPr>
          <p:spPr>
            <a:xfrm>
              <a:off x="962826" y="3180622"/>
              <a:ext cx="4687001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>
                <a:spcBef>
                  <a:spcPts val="600"/>
                </a:spcBef>
                <a:buSzPct val="100000"/>
                <a:buFont typeface="Arial"/>
                <a:buNone/>
              </a:pPr>
              <a:r>
                <a:rPr lang="de-DE" sz="1200" b="1">
                  <a:latin typeface="Calibri" panose="020F0502020204030204" pitchFamily="34" charset="0"/>
                  <a:cs typeface="Calibri" panose="020F0502020204030204" pitchFamily="34" charset="0"/>
                </a:rPr>
                <a:t>Key Skills</a:t>
              </a:r>
              <a:endParaRPr lang="de-DE" sz="1200" b="1" noProof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35855" y="3075545"/>
              <a:ext cx="365792" cy="371888"/>
            </a:xfrm>
            <a:prstGeom prst="rect">
              <a:avLst/>
            </a:prstGeom>
          </p:spPr>
        </p:pic>
      </p:grpSp>
      <p:grpSp>
        <p:nvGrpSpPr>
          <p:cNvPr id="18" name="Group 17"/>
          <p:cNvGrpSpPr/>
          <p:nvPr/>
        </p:nvGrpSpPr>
        <p:grpSpPr>
          <a:xfrm>
            <a:off x="5164441" y="3105071"/>
            <a:ext cx="5870684" cy="333852"/>
            <a:chOff x="5913085" y="3078365"/>
            <a:chExt cx="5799780" cy="369021"/>
          </a:xfrm>
        </p:grpSpPr>
        <p:cxnSp>
          <p:nvCxnSpPr>
            <p:cNvPr id="19" name="Straight Connector 18"/>
            <p:cNvCxnSpPr/>
            <p:nvPr userDrawn="1"/>
          </p:nvCxnSpPr>
          <p:spPr>
            <a:xfrm>
              <a:off x="6324329" y="3436001"/>
              <a:ext cx="5330627" cy="472"/>
            </a:xfrm>
            <a:prstGeom prst="line">
              <a:avLst/>
            </a:prstGeom>
            <a:ln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Group 19"/>
            <p:cNvGrpSpPr/>
            <p:nvPr/>
          </p:nvGrpSpPr>
          <p:grpSpPr>
            <a:xfrm>
              <a:off x="5913085" y="3078365"/>
              <a:ext cx="5799780" cy="369021"/>
              <a:chOff x="5913085" y="3078365"/>
              <a:chExt cx="5799780" cy="369021"/>
            </a:xfrm>
          </p:grpSpPr>
          <p:grpSp>
            <p:nvGrpSpPr>
              <p:cNvPr id="21" name="Group 675"/>
              <p:cNvGrpSpPr>
                <a:grpSpLocks noChangeAspect="1"/>
              </p:cNvGrpSpPr>
              <p:nvPr userDrawn="1"/>
            </p:nvGrpSpPr>
            <p:grpSpPr bwMode="gray">
              <a:xfrm>
                <a:off x="5913085" y="3078365"/>
                <a:ext cx="369021" cy="369021"/>
                <a:chOff x="6583" y="2681"/>
                <a:chExt cx="340" cy="340"/>
              </a:xfrm>
              <a:solidFill>
                <a:schemeClr val="accent1"/>
              </a:solidFill>
            </p:grpSpPr>
            <p:sp>
              <p:nvSpPr>
                <p:cNvPr id="23" name="Freeform 676"/>
                <p:cNvSpPr>
                  <a:spLocks noEditPoints="1"/>
                </p:cNvSpPr>
                <p:nvPr/>
              </p:nvSpPr>
              <p:spPr bwMode="gray">
                <a:xfrm>
                  <a:off x="6583" y="2681"/>
                  <a:ext cx="340" cy="340"/>
                </a:xfrm>
                <a:custGeom>
                  <a:avLst/>
                  <a:gdLst>
                    <a:gd name="T0" fmla="*/ 256 w 512"/>
                    <a:gd name="T1" fmla="*/ 21 h 512"/>
                    <a:gd name="T2" fmla="*/ 490 w 512"/>
                    <a:gd name="T3" fmla="*/ 256 h 512"/>
                    <a:gd name="T4" fmla="*/ 256 w 512"/>
                    <a:gd name="T5" fmla="*/ 490 h 512"/>
                    <a:gd name="T6" fmla="*/ 21 w 512"/>
                    <a:gd name="T7" fmla="*/ 256 h 512"/>
                    <a:gd name="T8" fmla="*/ 256 w 512"/>
                    <a:gd name="T9" fmla="*/ 21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1"/>
                      </a:moveTo>
                      <a:cubicBezTo>
                        <a:pt x="385" y="21"/>
                        <a:pt x="490" y="126"/>
                        <a:pt x="490" y="256"/>
                      </a:cubicBezTo>
                      <a:cubicBezTo>
                        <a:pt x="490" y="385"/>
                        <a:pt x="385" y="490"/>
                        <a:pt x="256" y="490"/>
                      </a:cubicBezTo>
                      <a:cubicBezTo>
                        <a:pt x="126" y="490"/>
                        <a:pt x="21" y="385"/>
                        <a:pt x="21" y="256"/>
                      </a:cubicBezTo>
                      <a:cubicBezTo>
                        <a:pt x="21" y="126"/>
                        <a:pt x="126" y="21"/>
                        <a:pt x="256" y="21"/>
                      </a:cubicBezTo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" name="Freeform 677"/>
                <p:cNvSpPr>
                  <a:spLocks noEditPoints="1"/>
                </p:cNvSpPr>
                <p:nvPr/>
              </p:nvSpPr>
              <p:spPr bwMode="gray">
                <a:xfrm>
                  <a:off x="6672" y="2741"/>
                  <a:ext cx="162" cy="224"/>
                </a:xfrm>
                <a:custGeom>
                  <a:avLst/>
                  <a:gdLst>
                    <a:gd name="T0" fmla="*/ 233 w 244"/>
                    <a:gd name="T1" fmla="*/ 122 h 336"/>
                    <a:gd name="T2" fmla="*/ 241 w 244"/>
                    <a:gd name="T3" fmla="*/ 90 h 336"/>
                    <a:gd name="T4" fmla="*/ 218 w 244"/>
                    <a:gd name="T5" fmla="*/ 67 h 336"/>
                    <a:gd name="T6" fmla="*/ 209 w 244"/>
                    <a:gd name="T7" fmla="*/ 35 h 336"/>
                    <a:gd name="T8" fmla="*/ 177 w 244"/>
                    <a:gd name="T9" fmla="*/ 26 h 336"/>
                    <a:gd name="T10" fmla="*/ 154 w 244"/>
                    <a:gd name="T11" fmla="*/ 2 h 336"/>
                    <a:gd name="T12" fmla="*/ 122 w 244"/>
                    <a:gd name="T13" fmla="*/ 11 h 336"/>
                    <a:gd name="T14" fmla="*/ 90 w 244"/>
                    <a:gd name="T15" fmla="*/ 2 h 336"/>
                    <a:gd name="T16" fmla="*/ 66 w 244"/>
                    <a:gd name="T17" fmla="*/ 26 h 336"/>
                    <a:gd name="T18" fmla="*/ 34 w 244"/>
                    <a:gd name="T19" fmla="*/ 35 h 336"/>
                    <a:gd name="T20" fmla="*/ 26 w 244"/>
                    <a:gd name="T21" fmla="*/ 67 h 336"/>
                    <a:gd name="T22" fmla="*/ 2 w 244"/>
                    <a:gd name="T23" fmla="*/ 90 h 336"/>
                    <a:gd name="T24" fmla="*/ 11 w 244"/>
                    <a:gd name="T25" fmla="*/ 122 h 336"/>
                    <a:gd name="T26" fmla="*/ 2 w 244"/>
                    <a:gd name="T27" fmla="*/ 154 h 336"/>
                    <a:gd name="T28" fmla="*/ 26 w 244"/>
                    <a:gd name="T29" fmla="*/ 177 h 336"/>
                    <a:gd name="T30" fmla="*/ 34 w 244"/>
                    <a:gd name="T31" fmla="*/ 209 h 336"/>
                    <a:gd name="T32" fmla="*/ 58 w 244"/>
                    <a:gd name="T33" fmla="*/ 217 h 336"/>
                    <a:gd name="T34" fmla="*/ 63 w 244"/>
                    <a:gd name="T35" fmla="*/ 334 h 336"/>
                    <a:gd name="T36" fmla="*/ 122 w 244"/>
                    <a:gd name="T37" fmla="*/ 305 h 336"/>
                    <a:gd name="T38" fmla="*/ 175 w 244"/>
                    <a:gd name="T39" fmla="*/ 335 h 336"/>
                    <a:gd name="T40" fmla="*/ 186 w 244"/>
                    <a:gd name="T41" fmla="*/ 325 h 336"/>
                    <a:gd name="T42" fmla="*/ 186 w 244"/>
                    <a:gd name="T43" fmla="*/ 217 h 336"/>
                    <a:gd name="T44" fmla="*/ 217 w 244"/>
                    <a:gd name="T45" fmla="*/ 187 h 336"/>
                    <a:gd name="T46" fmla="*/ 225 w 244"/>
                    <a:gd name="T47" fmla="*/ 172 h 336"/>
                    <a:gd name="T48" fmla="*/ 236 w 244"/>
                    <a:gd name="T49" fmla="*/ 131 h 336"/>
                    <a:gd name="T50" fmla="*/ 116 w 244"/>
                    <a:gd name="T51" fmla="*/ 284 h 336"/>
                    <a:gd name="T52" fmla="*/ 79 w 244"/>
                    <a:gd name="T53" fmla="*/ 235 h 336"/>
                    <a:gd name="T54" fmla="*/ 95 w 244"/>
                    <a:gd name="T55" fmla="*/ 242 h 336"/>
                    <a:gd name="T56" fmla="*/ 122 w 244"/>
                    <a:gd name="T57" fmla="*/ 233 h 336"/>
                    <a:gd name="T58" fmla="*/ 154 w 244"/>
                    <a:gd name="T59" fmla="*/ 242 h 336"/>
                    <a:gd name="T60" fmla="*/ 164 w 244"/>
                    <a:gd name="T61" fmla="*/ 306 h 336"/>
                    <a:gd name="T62" fmla="*/ 213 w 244"/>
                    <a:gd name="T63" fmla="*/ 154 h 336"/>
                    <a:gd name="T64" fmla="*/ 195 w 244"/>
                    <a:gd name="T65" fmla="*/ 185 h 336"/>
                    <a:gd name="T66" fmla="*/ 185 w 244"/>
                    <a:gd name="T67" fmla="*/ 195 h 336"/>
                    <a:gd name="T68" fmla="*/ 154 w 244"/>
                    <a:gd name="T69" fmla="*/ 212 h 336"/>
                    <a:gd name="T70" fmla="*/ 148 w 244"/>
                    <a:gd name="T71" fmla="*/ 218 h 336"/>
                    <a:gd name="T72" fmla="*/ 122 w 244"/>
                    <a:gd name="T73" fmla="*/ 212 h 336"/>
                    <a:gd name="T74" fmla="*/ 95 w 244"/>
                    <a:gd name="T75" fmla="*/ 221 h 336"/>
                    <a:gd name="T76" fmla="*/ 77 w 244"/>
                    <a:gd name="T77" fmla="*/ 200 h 336"/>
                    <a:gd name="T78" fmla="*/ 49 w 244"/>
                    <a:gd name="T79" fmla="*/ 195 h 336"/>
                    <a:gd name="T80" fmla="*/ 44 w 244"/>
                    <a:gd name="T81" fmla="*/ 167 h 336"/>
                    <a:gd name="T82" fmla="*/ 23 w 244"/>
                    <a:gd name="T83" fmla="*/ 149 h 336"/>
                    <a:gd name="T84" fmla="*/ 32 w 244"/>
                    <a:gd name="T85" fmla="*/ 122 h 336"/>
                    <a:gd name="T86" fmla="*/ 23 w 244"/>
                    <a:gd name="T87" fmla="*/ 96 h 336"/>
                    <a:gd name="T88" fmla="*/ 44 w 244"/>
                    <a:gd name="T89" fmla="*/ 77 h 336"/>
                    <a:gd name="T90" fmla="*/ 49 w 244"/>
                    <a:gd name="T91" fmla="*/ 50 h 336"/>
                    <a:gd name="T92" fmla="*/ 77 w 244"/>
                    <a:gd name="T93" fmla="*/ 45 h 336"/>
                    <a:gd name="T94" fmla="*/ 95 w 244"/>
                    <a:gd name="T95" fmla="*/ 26 h 336"/>
                    <a:gd name="T96" fmla="*/ 103 w 244"/>
                    <a:gd name="T97" fmla="*/ 28 h 336"/>
                    <a:gd name="T98" fmla="*/ 140 w 244"/>
                    <a:gd name="T99" fmla="*/ 27 h 336"/>
                    <a:gd name="T100" fmla="*/ 154 w 244"/>
                    <a:gd name="T101" fmla="*/ 30 h 336"/>
                    <a:gd name="T102" fmla="*/ 185 w 244"/>
                    <a:gd name="T103" fmla="*/ 48 h 336"/>
                    <a:gd name="T104" fmla="*/ 195 w 244"/>
                    <a:gd name="T105" fmla="*/ 59 h 336"/>
                    <a:gd name="T106" fmla="*/ 213 w 244"/>
                    <a:gd name="T107" fmla="*/ 90 h 336"/>
                    <a:gd name="T108" fmla="*/ 217 w 244"/>
                    <a:gd name="T109" fmla="*/ 104 h 336"/>
                    <a:gd name="T110" fmla="*/ 217 w 244"/>
                    <a:gd name="T111" fmla="*/ 140 h 336"/>
                    <a:gd name="T112" fmla="*/ 213 w 244"/>
                    <a:gd name="T113" fmla="*/ 154 h 3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44" h="336">
                      <a:moveTo>
                        <a:pt x="236" y="131"/>
                      </a:moveTo>
                      <a:cubicBezTo>
                        <a:pt x="235" y="128"/>
                        <a:pt x="233" y="124"/>
                        <a:pt x="233" y="122"/>
                      </a:cubicBezTo>
                      <a:cubicBezTo>
                        <a:pt x="233" y="120"/>
                        <a:pt x="235" y="116"/>
                        <a:pt x="236" y="113"/>
                      </a:cubicBezTo>
                      <a:cubicBezTo>
                        <a:pt x="239" y="107"/>
                        <a:pt x="244" y="99"/>
                        <a:pt x="241" y="90"/>
                      </a:cubicBezTo>
                      <a:cubicBezTo>
                        <a:pt x="239" y="81"/>
                        <a:pt x="231" y="76"/>
                        <a:pt x="225" y="72"/>
                      </a:cubicBezTo>
                      <a:cubicBezTo>
                        <a:pt x="222" y="70"/>
                        <a:pt x="219" y="68"/>
                        <a:pt x="218" y="67"/>
                      </a:cubicBezTo>
                      <a:cubicBezTo>
                        <a:pt x="217" y="65"/>
                        <a:pt x="217" y="61"/>
                        <a:pt x="217" y="57"/>
                      </a:cubicBezTo>
                      <a:cubicBezTo>
                        <a:pt x="216" y="50"/>
                        <a:pt x="216" y="41"/>
                        <a:pt x="209" y="35"/>
                      </a:cubicBezTo>
                      <a:cubicBezTo>
                        <a:pt x="203" y="28"/>
                        <a:pt x="194" y="28"/>
                        <a:pt x="186" y="27"/>
                      </a:cubicBezTo>
                      <a:cubicBezTo>
                        <a:pt x="183" y="27"/>
                        <a:pt x="179" y="27"/>
                        <a:pt x="177" y="26"/>
                      </a:cubicBezTo>
                      <a:cubicBezTo>
                        <a:pt x="176" y="25"/>
                        <a:pt x="173" y="21"/>
                        <a:pt x="172" y="19"/>
                      </a:cubicBezTo>
                      <a:cubicBezTo>
                        <a:pt x="168" y="13"/>
                        <a:pt x="163" y="5"/>
                        <a:pt x="154" y="2"/>
                      </a:cubicBezTo>
                      <a:cubicBezTo>
                        <a:pt x="145" y="0"/>
                        <a:pt x="137" y="4"/>
                        <a:pt x="130" y="8"/>
                      </a:cubicBezTo>
                      <a:cubicBezTo>
                        <a:pt x="128" y="9"/>
                        <a:pt x="123" y="11"/>
                        <a:pt x="122" y="11"/>
                      </a:cubicBezTo>
                      <a:cubicBezTo>
                        <a:pt x="120" y="11"/>
                        <a:pt x="116" y="9"/>
                        <a:pt x="113" y="8"/>
                      </a:cubicBezTo>
                      <a:cubicBezTo>
                        <a:pt x="106" y="4"/>
                        <a:pt x="98" y="0"/>
                        <a:pt x="90" y="2"/>
                      </a:cubicBezTo>
                      <a:cubicBezTo>
                        <a:pt x="81" y="5"/>
                        <a:pt x="76" y="13"/>
                        <a:pt x="72" y="19"/>
                      </a:cubicBezTo>
                      <a:cubicBezTo>
                        <a:pt x="70" y="21"/>
                        <a:pt x="68" y="25"/>
                        <a:pt x="66" y="26"/>
                      </a:cubicBezTo>
                      <a:cubicBezTo>
                        <a:pt x="65" y="27"/>
                        <a:pt x="60" y="27"/>
                        <a:pt x="57" y="27"/>
                      </a:cubicBezTo>
                      <a:cubicBezTo>
                        <a:pt x="50" y="28"/>
                        <a:pt x="41" y="28"/>
                        <a:pt x="34" y="35"/>
                      </a:cubicBezTo>
                      <a:cubicBezTo>
                        <a:pt x="28" y="41"/>
                        <a:pt x="27" y="50"/>
                        <a:pt x="27" y="57"/>
                      </a:cubicBezTo>
                      <a:cubicBezTo>
                        <a:pt x="27" y="61"/>
                        <a:pt x="26" y="65"/>
                        <a:pt x="26" y="67"/>
                      </a:cubicBezTo>
                      <a:cubicBezTo>
                        <a:pt x="25" y="68"/>
                        <a:pt x="21" y="70"/>
                        <a:pt x="18" y="72"/>
                      </a:cubicBezTo>
                      <a:cubicBezTo>
                        <a:pt x="12" y="76"/>
                        <a:pt x="5" y="81"/>
                        <a:pt x="2" y="90"/>
                      </a:cubicBezTo>
                      <a:cubicBezTo>
                        <a:pt x="0" y="99"/>
                        <a:pt x="4" y="107"/>
                        <a:pt x="7" y="113"/>
                      </a:cubicBezTo>
                      <a:cubicBezTo>
                        <a:pt x="9" y="116"/>
                        <a:pt x="11" y="120"/>
                        <a:pt x="11" y="122"/>
                      </a:cubicBezTo>
                      <a:cubicBezTo>
                        <a:pt x="11" y="124"/>
                        <a:pt x="9" y="128"/>
                        <a:pt x="7" y="131"/>
                      </a:cubicBezTo>
                      <a:cubicBezTo>
                        <a:pt x="4" y="137"/>
                        <a:pt x="0" y="145"/>
                        <a:pt x="2" y="154"/>
                      </a:cubicBezTo>
                      <a:cubicBezTo>
                        <a:pt x="5" y="163"/>
                        <a:pt x="12" y="168"/>
                        <a:pt x="18" y="172"/>
                      </a:cubicBezTo>
                      <a:cubicBezTo>
                        <a:pt x="21" y="174"/>
                        <a:pt x="25" y="176"/>
                        <a:pt x="26" y="177"/>
                      </a:cubicBezTo>
                      <a:cubicBezTo>
                        <a:pt x="26" y="179"/>
                        <a:pt x="27" y="183"/>
                        <a:pt x="27" y="187"/>
                      </a:cubicBezTo>
                      <a:cubicBezTo>
                        <a:pt x="27" y="194"/>
                        <a:pt x="28" y="203"/>
                        <a:pt x="34" y="209"/>
                      </a:cubicBezTo>
                      <a:cubicBezTo>
                        <a:pt x="41" y="216"/>
                        <a:pt x="50" y="216"/>
                        <a:pt x="57" y="217"/>
                      </a:cubicBezTo>
                      <a:cubicBezTo>
                        <a:pt x="57" y="217"/>
                        <a:pt x="57" y="217"/>
                        <a:pt x="58" y="217"/>
                      </a:cubicBezTo>
                      <a:cubicBezTo>
                        <a:pt x="58" y="325"/>
                        <a:pt x="58" y="325"/>
                        <a:pt x="58" y="325"/>
                      </a:cubicBezTo>
                      <a:cubicBezTo>
                        <a:pt x="58" y="329"/>
                        <a:pt x="60" y="332"/>
                        <a:pt x="63" y="334"/>
                      </a:cubicBezTo>
                      <a:cubicBezTo>
                        <a:pt x="66" y="336"/>
                        <a:pt x="71" y="336"/>
                        <a:pt x="74" y="334"/>
                      </a:cubicBezTo>
                      <a:cubicBezTo>
                        <a:pt x="122" y="305"/>
                        <a:pt x="122" y="305"/>
                        <a:pt x="122" y="305"/>
                      </a:cubicBezTo>
                      <a:cubicBezTo>
                        <a:pt x="170" y="334"/>
                        <a:pt x="170" y="334"/>
                        <a:pt x="170" y="334"/>
                      </a:cubicBezTo>
                      <a:cubicBezTo>
                        <a:pt x="171" y="335"/>
                        <a:pt x="173" y="335"/>
                        <a:pt x="175" y="335"/>
                      </a:cubicBezTo>
                      <a:cubicBezTo>
                        <a:pt x="177" y="335"/>
                        <a:pt x="179" y="335"/>
                        <a:pt x="180" y="334"/>
                      </a:cubicBezTo>
                      <a:cubicBezTo>
                        <a:pt x="184" y="332"/>
                        <a:pt x="186" y="329"/>
                        <a:pt x="186" y="325"/>
                      </a:cubicBezTo>
                      <a:cubicBezTo>
                        <a:pt x="186" y="217"/>
                        <a:pt x="186" y="217"/>
                        <a:pt x="186" y="217"/>
                      </a:cubicBezTo>
                      <a:cubicBezTo>
                        <a:pt x="186" y="217"/>
                        <a:pt x="186" y="217"/>
                        <a:pt x="186" y="217"/>
                      </a:cubicBezTo>
                      <a:cubicBezTo>
                        <a:pt x="194" y="216"/>
                        <a:pt x="203" y="216"/>
                        <a:pt x="209" y="209"/>
                      </a:cubicBezTo>
                      <a:cubicBezTo>
                        <a:pt x="216" y="203"/>
                        <a:pt x="216" y="194"/>
                        <a:pt x="217" y="187"/>
                      </a:cubicBezTo>
                      <a:cubicBezTo>
                        <a:pt x="217" y="183"/>
                        <a:pt x="217" y="179"/>
                        <a:pt x="218" y="177"/>
                      </a:cubicBezTo>
                      <a:cubicBezTo>
                        <a:pt x="219" y="176"/>
                        <a:pt x="222" y="174"/>
                        <a:pt x="225" y="172"/>
                      </a:cubicBezTo>
                      <a:cubicBezTo>
                        <a:pt x="231" y="168"/>
                        <a:pt x="239" y="163"/>
                        <a:pt x="241" y="154"/>
                      </a:cubicBezTo>
                      <a:cubicBezTo>
                        <a:pt x="244" y="145"/>
                        <a:pt x="239" y="137"/>
                        <a:pt x="236" y="131"/>
                      </a:cubicBezTo>
                      <a:close/>
                      <a:moveTo>
                        <a:pt x="127" y="284"/>
                      </a:moveTo>
                      <a:cubicBezTo>
                        <a:pt x="124" y="282"/>
                        <a:pt x="120" y="282"/>
                        <a:pt x="116" y="284"/>
                      </a:cubicBezTo>
                      <a:cubicBezTo>
                        <a:pt x="79" y="306"/>
                        <a:pt x="79" y="306"/>
                        <a:pt x="79" y="306"/>
                      </a:cubicBezTo>
                      <a:cubicBezTo>
                        <a:pt x="79" y="235"/>
                        <a:pt x="79" y="235"/>
                        <a:pt x="79" y="235"/>
                      </a:cubicBezTo>
                      <a:cubicBezTo>
                        <a:pt x="82" y="238"/>
                        <a:pt x="85" y="240"/>
                        <a:pt x="90" y="242"/>
                      </a:cubicBezTo>
                      <a:cubicBezTo>
                        <a:pt x="91" y="242"/>
                        <a:pt x="93" y="242"/>
                        <a:pt x="95" y="242"/>
                      </a:cubicBezTo>
                      <a:cubicBezTo>
                        <a:pt x="102" y="242"/>
                        <a:pt x="108" y="239"/>
                        <a:pt x="113" y="236"/>
                      </a:cubicBezTo>
                      <a:cubicBezTo>
                        <a:pt x="116" y="235"/>
                        <a:pt x="120" y="233"/>
                        <a:pt x="122" y="233"/>
                      </a:cubicBezTo>
                      <a:cubicBezTo>
                        <a:pt x="123" y="233"/>
                        <a:pt x="128" y="235"/>
                        <a:pt x="130" y="236"/>
                      </a:cubicBezTo>
                      <a:cubicBezTo>
                        <a:pt x="137" y="240"/>
                        <a:pt x="145" y="244"/>
                        <a:pt x="154" y="242"/>
                      </a:cubicBezTo>
                      <a:cubicBezTo>
                        <a:pt x="158" y="240"/>
                        <a:pt x="161" y="238"/>
                        <a:pt x="164" y="235"/>
                      </a:cubicBezTo>
                      <a:cubicBezTo>
                        <a:pt x="164" y="306"/>
                        <a:pt x="164" y="306"/>
                        <a:pt x="164" y="306"/>
                      </a:cubicBezTo>
                      <a:lnTo>
                        <a:pt x="127" y="284"/>
                      </a:lnTo>
                      <a:close/>
                      <a:moveTo>
                        <a:pt x="213" y="154"/>
                      </a:moveTo>
                      <a:cubicBezTo>
                        <a:pt x="208" y="157"/>
                        <a:pt x="203" y="161"/>
                        <a:pt x="199" y="167"/>
                      </a:cubicBezTo>
                      <a:cubicBezTo>
                        <a:pt x="196" y="173"/>
                        <a:pt x="196" y="179"/>
                        <a:pt x="195" y="185"/>
                      </a:cubicBezTo>
                      <a:cubicBezTo>
                        <a:pt x="195" y="188"/>
                        <a:pt x="195" y="193"/>
                        <a:pt x="194" y="194"/>
                      </a:cubicBezTo>
                      <a:cubicBezTo>
                        <a:pt x="193" y="195"/>
                        <a:pt x="188" y="195"/>
                        <a:pt x="185" y="195"/>
                      </a:cubicBezTo>
                      <a:cubicBezTo>
                        <a:pt x="179" y="195"/>
                        <a:pt x="172" y="195"/>
                        <a:pt x="166" y="199"/>
                      </a:cubicBezTo>
                      <a:cubicBezTo>
                        <a:pt x="161" y="202"/>
                        <a:pt x="157" y="207"/>
                        <a:pt x="154" y="212"/>
                      </a:cubicBezTo>
                      <a:cubicBezTo>
                        <a:pt x="152" y="215"/>
                        <a:pt x="149" y="218"/>
                        <a:pt x="148" y="218"/>
                      </a:cubicBezTo>
                      <a:cubicBezTo>
                        <a:pt x="148" y="218"/>
                        <a:pt x="148" y="218"/>
                        <a:pt x="148" y="218"/>
                      </a:cubicBezTo>
                      <a:cubicBezTo>
                        <a:pt x="147" y="218"/>
                        <a:pt x="143" y="217"/>
                        <a:pt x="140" y="216"/>
                      </a:cubicBezTo>
                      <a:cubicBezTo>
                        <a:pt x="135" y="213"/>
                        <a:pt x="129" y="212"/>
                        <a:pt x="122" y="212"/>
                      </a:cubicBezTo>
                      <a:cubicBezTo>
                        <a:pt x="115" y="212"/>
                        <a:pt x="109" y="215"/>
                        <a:pt x="103" y="217"/>
                      </a:cubicBezTo>
                      <a:cubicBezTo>
                        <a:pt x="101" y="219"/>
                        <a:pt x="96" y="221"/>
                        <a:pt x="95" y="221"/>
                      </a:cubicBezTo>
                      <a:cubicBezTo>
                        <a:pt x="94" y="220"/>
                        <a:pt x="91" y="216"/>
                        <a:pt x="90" y="214"/>
                      </a:cubicBezTo>
                      <a:cubicBezTo>
                        <a:pt x="86" y="209"/>
                        <a:pt x="83" y="203"/>
                        <a:pt x="77" y="200"/>
                      </a:cubicBezTo>
                      <a:cubicBezTo>
                        <a:pt x="71" y="196"/>
                        <a:pt x="64" y="196"/>
                        <a:pt x="58" y="196"/>
                      </a:cubicBezTo>
                      <a:cubicBezTo>
                        <a:pt x="55" y="195"/>
                        <a:pt x="50" y="195"/>
                        <a:pt x="49" y="195"/>
                      </a:cubicBezTo>
                      <a:cubicBezTo>
                        <a:pt x="49" y="193"/>
                        <a:pt x="48" y="188"/>
                        <a:pt x="48" y="185"/>
                      </a:cubicBezTo>
                      <a:cubicBezTo>
                        <a:pt x="48" y="179"/>
                        <a:pt x="47" y="173"/>
                        <a:pt x="44" y="167"/>
                      </a:cubicBezTo>
                      <a:cubicBezTo>
                        <a:pt x="41" y="161"/>
                        <a:pt x="35" y="157"/>
                        <a:pt x="30" y="154"/>
                      </a:cubicBezTo>
                      <a:cubicBezTo>
                        <a:pt x="28" y="152"/>
                        <a:pt x="23" y="150"/>
                        <a:pt x="23" y="149"/>
                      </a:cubicBezTo>
                      <a:cubicBezTo>
                        <a:pt x="23" y="147"/>
                        <a:pt x="25" y="143"/>
                        <a:pt x="26" y="140"/>
                      </a:cubicBezTo>
                      <a:cubicBezTo>
                        <a:pt x="29" y="135"/>
                        <a:pt x="32" y="129"/>
                        <a:pt x="32" y="122"/>
                      </a:cubicBezTo>
                      <a:cubicBezTo>
                        <a:pt x="32" y="115"/>
                        <a:pt x="29" y="109"/>
                        <a:pt x="26" y="104"/>
                      </a:cubicBezTo>
                      <a:cubicBezTo>
                        <a:pt x="25" y="101"/>
                        <a:pt x="23" y="97"/>
                        <a:pt x="23" y="96"/>
                      </a:cubicBezTo>
                      <a:cubicBezTo>
                        <a:pt x="23" y="94"/>
                        <a:pt x="28" y="92"/>
                        <a:pt x="30" y="90"/>
                      </a:cubicBezTo>
                      <a:cubicBezTo>
                        <a:pt x="35" y="87"/>
                        <a:pt x="41" y="83"/>
                        <a:pt x="44" y="77"/>
                      </a:cubicBezTo>
                      <a:cubicBezTo>
                        <a:pt x="47" y="71"/>
                        <a:pt x="48" y="65"/>
                        <a:pt x="48" y="59"/>
                      </a:cubicBezTo>
                      <a:cubicBezTo>
                        <a:pt x="48" y="56"/>
                        <a:pt x="49" y="51"/>
                        <a:pt x="49" y="50"/>
                      </a:cubicBezTo>
                      <a:cubicBezTo>
                        <a:pt x="50" y="49"/>
                        <a:pt x="55" y="49"/>
                        <a:pt x="58" y="49"/>
                      </a:cubicBezTo>
                      <a:cubicBezTo>
                        <a:pt x="64" y="49"/>
                        <a:pt x="71" y="49"/>
                        <a:pt x="77" y="45"/>
                      </a:cubicBezTo>
                      <a:cubicBezTo>
                        <a:pt x="83" y="42"/>
                        <a:pt x="86" y="37"/>
                        <a:pt x="90" y="32"/>
                      </a:cubicBezTo>
                      <a:cubicBezTo>
                        <a:pt x="91" y="29"/>
                        <a:pt x="94" y="26"/>
                        <a:pt x="95" y="26"/>
                      </a:cubicBezTo>
                      <a:cubicBezTo>
                        <a:pt x="95" y="26"/>
                        <a:pt x="95" y="26"/>
                        <a:pt x="95" y="26"/>
                      </a:cubicBezTo>
                      <a:cubicBezTo>
                        <a:pt x="96" y="26"/>
                        <a:pt x="101" y="27"/>
                        <a:pt x="103" y="28"/>
                      </a:cubicBezTo>
                      <a:cubicBezTo>
                        <a:pt x="109" y="31"/>
                        <a:pt x="115" y="32"/>
                        <a:pt x="122" y="32"/>
                      </a:cubicBezTo>
                      <a:cubicBezTo>
                        <a:pt x="129" y="32"/>
                        <a:pt x="135" y="29"/>
                        <a:pt x="140" y="27"/>
                      </a:cubicBezTo>
                      <a:cubicBezTo>
                        <a:pt x="143" y="25"/>
                        <a:pt x="147" y="23"/>
                        <a:pt x="148" y="23"/>
                      </a:cubicBezTo>
                      <a:cubicBezTo>
                        <a:pt x="149" y="24"/>
                        <a:pt x="152" y="28"/>
                        <a:pt x="154" y="30"/>
                      </a:cubicBezTo>
                      <a:cubicBezTo>
                        <a:pt x="157" y="35"/>
                        <a:pt x="161" y="41"/>
                        <a:pt x="166" y="44"/>
                      </a:cubicBezTo>
                      <a:cubicBezTo>
                        <a:pt x="172" y="48"/>
                        <a:pt x="179" y="48"/>
                        <a:pt x="185" y="48"/>
                      </a:cubicBezTo>
                      <a:cubicBezTo>
                        <a:pt x="188" y="49"/>
                        <a:pt x="193" y="49"/>
                        <a:pt x="194" y="49"/>
                      </a:cubicBezTo>
                      <a:cubicBezTo>
                        <a:pt x="195" y="51"/>
                        <a:pt x="195" y="56"/>
                        <a:pt x="195" y="59"/>
                      </a:cubicBezTo>
                      <a:cubicBezTo>
                        <a:pt x="196" y="65"/>
                        <a:pt x="196" y="71"/>
                        <a:pt x="199" y="77"/>
                      </a:cubicBezTo>
                      <a:cubicBezTo>
                        <a:pt x="203" y="83"/>
                        <a:pt x="208" y="87"/>
                        <a:pt x="213" y="90"/>
                      </a:cubicBezTo>
                      <a:cubicBezTo>
                        <a:pt x="216" y="92"/>
                        <a:pt x="220" y="94"/>
                        <a:pt x="221" y="95"/>
                      </a:cubicBezTo>
                      <a:cubicBezTo>
                        <a:pt x="221" y="97"/>
                        <a:pt x="218" y="101"/>
                        <a:pt x="217" y="104"/>
                      </a:cubicBezTo>
                      <a:cubicBezTo>
                        <a:pt x="214" y="109"/>
                        <a:pt x="211" y="115"/>
                        <a:pt x="211" y="122"/>
                      </a:cubicBezTo>
                      <a:cubicBezTo>
                        <a:pt x="211" y="129"/>
                        <a:pt x="214" y="135"/>
                        <a:pt x="217" y="140"/>
                      </a:cubicBezTo>
                      <a:cubicBezTo>
                        <a:pt x="218" y="143"/>
                        <a:pt x="221" y="147"/>
                        <a:pt x="221" y="148"/>
                      </a:cubicBezTo>
                      <a:cubicBezTo>
                        <a:pt x="220" y="150"/>
                        <a:pt x="216" y="152"/>
                        <a:pt x="213" y="1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" name="Freeform 678"/>
                <p:cNvSpPr>
                  <a:spLocks noEditPoints="1"/>
                </p:cNvSpPr>
                <p:nvPr/>
              </p:nvSpPr>
              <p:spPr bwMode="gray">
                <a:xfrm>
                  <a:off x="6717" y="2787"/>
                  <a:ext cx="71" cy="71"/>
                </a:xfrm>
                <a:custGeom>
                  <a:avLst/>
                  <a:gdLst>
                    <a:gd name="T0" fmla="*/ 54 w 107"/>
                    <a:gd name="T1" fmla="*/ 0 h 106"/>
                    <a:gd name="T2" fmla="*/ 0 w 107"/>
                    <a:gd name="T3" fmla="*/ 53 h 106"/>
                    <a:gd name="T4" fmla="*/ 54 w 107"/>
                    <a:gd name="T5" fmla="*/ 106 h 106"/>
                    <a:gd name="T6" fmla="*/ 107 w 107"/>
                    <a:gd name="T7" fmla="*/ 53 h 106"/>
                    <a:gd name="T8" fmla="*/ 54 w 107"/>
                    <a:gd name="T9" fmla="*/ 0 h 106"/>
                    <a:gd name="T10" fmla="*/ 54 w 107"/>
                    <a:gd name="T11" fmla="*/ 85 h 106"/>
                    <a:gd name="T12" fmla="*/ 22 w 107"/>
                    <a:gd name="T13" fmla="*/ 53 h 106"/>
                    <a:gd name="T14" fmla="*/ 54 w 107"/>
                    <a:gd name="T15" fmla="*/ 21 h 106"/>
                    <a:gd name="T16" fmla="*/ 86 w 107"/>
                    <a:gd name="T17" fmla="*/ 53 h 106"/>
                    <a:gd name="T18" fmla="*/ 54 w 107"/>
                    <a:gd name="T19" fmla="*/ 85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7" h="106">
                      <a:moveTo>
                        <a:pt x="54" y="0"/>
                      </a:moveTo>
                      <a:cubicBezTo>
                        <a:pt x="24" y="0"/>
                        <a:pt x="0" y="24"/>
                        <a:pt x="0" y="53"/>
                      </a:cubicBezTo>
                      <a:cubicBezTo>
                        <a:pt x="0" y="82"/>
                        <a:pt x="24" y="106"/>
                        <a:pt x="54" y="106"/>
                      </a:cubicBezTo>
                      <a:cubicBezTo>
                        <a:pt x="83" y="106"/>
                        <a:pt x="107" y="82"/>
                        <a:pt x="107" y="53"/>
                      </a:cubicBezTo>
                      <a:cubicBezTo>
                        <a:pt x="107" y="24"/>
                        <a:pt x="83" y="0"/>
                        <a:pt x="54" y="0"/>
                      </a:cubicBezTo>
                      <a:close/>
                      <a:moveTo>
                        <a:pt x="54" y="85"/>
                      </a:moveTo>
                      <a:cubicBezTo>
                        <a:pt x="36" y="85"/>
                        <a:pt x="22" y="71"/>
                        <a:pt x="22" y="53"/>
                      </a:cubicBezTo>
                      <a:cubicBezTo>
                        <a:pt x="22" y="35"/>
                        <a:pt x="36" y="21"/>
                        <a:pt x="54" y="21"/>
                      </a:cubicBezTo>
                      <a:cubicBezTo>
                        <a:pt x="71" y="21"/>
                        <a:pt x="86" y="35"/>
                        <a:pt x="86" y="53"/>
                      </a:cubicBezTo>
                      <a:cubicBezTo>
                        <a:pt x="86" y="71"/>
                        <a:pt x="71" y="85"/>
                        <a:pt x="54" y="8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sp>
            <p:nvSpPr>
              <p:cNvPr id="22" name="TextBox 21"/>
              <p:cNvSpPr txBox="1"/>
              <p:nvPr userDrawn="1"/>
            </p:nvSpPr>
            <p:spPr>
              <a:xfrm>
                <a:off x="6337815" y="3084778"/>
                <a:ext cx="5375050" cy="20411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SzPct val="100000"/>
                  <a:buFont typeface="Arial"/>
                  <a:buNone/>
                </a:pPr>
                <a:r>
                  <a:rPr lang="en-GB" sz="1200" b="1">
                    <a:latin typeface="Calibri" panose="020F0502020204030204" pitchFamily="34" charset="0"/>
                    <a:cs typeface="Calibri" panose="020F0502020204030204" pitchFamily="34" charset="0"/>
                  </a:rPr>
                  <a:t>Relevant experience</a:t>
                </a:r>
              </a:p>
            </p:txBody>
          </p:sp>
        </p:grpSp>
      </p:grpSp>
      <p:grpSp>
        <p:nvGrpSpPr>
          <p:cNvPr id="32" name="Group 31"/>
          <p:cNvGrpSpPr>
            <a:grpSpLocks/>
          </p:cNvGrpSpPr>
          <p:nvPr/>
        </p:nvGrpSpPr>
        <p:grpSpPr>
          <a:xfrm>
            <a:off x="5047210" y="1009062"/>
            <a:ext cx="5932614" cy="369021"/>
            <a:chOff x="5871978" y="1582859"/>
            <a:chExt cx="5932614" cy="369021"/>
          </a:xfrm>
        </p:grpSpPr>
        <p:cxnSp>
          <p:nvCxnSpPr>
            <p:cNvPr id="33" name="Straight Connector 32"/>
            <p:cNvCxnSpPr/>
            <p:nvPr userDrawn="1"/>
          </p:nvCxnSpPr>
          <p:spPr>
            <a:xfrm>
              <a:off x="6335918" y="1906203"/>
              <a:ext cx="5330620" cy="0"/>
            </a:xfrm>
            <a:prstGeom prst="line">
              <a:avLst/>
            </a:prstGeom>
            <a:ln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/>
            <p:cNvSpPr txBox="1"/>
            <p:nvPr userDrawn="1"/>
          </p:nvSpPr>
          <p:spPr>
            <a:xfrm>
              <a:off x="6337814" y="1705426"/>
              <a:ext cx="546677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>
                <a:spcBef>
                  <a:spcPts val="600"/>
                </a:spcBef>
                <a:buSzPct val="100000"/>
                <a:buFont typeface="Arial"/>
                <a:buNone/>
              </a:pPr>
              <a:r>
                <a:rPr lang="de-DE" sz="1200" b="1" noProof="0">
                  <a:latin typeface="Calibri" panose="020F0502020204030204" pitchFamily="34" charset="0"/>
                  <a:cs typeface="Calibri" panose="020F0502020204030204" pitchFamily="34" charset="0"/>
                </a:rPr>
                <a:t>Summary of professional experience</a:t>
              </a:r>
            </a:p>
          </p:txBody>
        </p:sp>
        <p:grpSp>
          <p:nvGrpSpPr>
            <p:cNvPr id="35" name="Group 555"/>
            <p:cNvGrpSpPr>
              <a:grpSpLocks noChangeAspect="1"/>
            </p:cNvGrpSpPr>
            <p:nvPr userDrawn="1"/>
          </p:nvGrpSpPr>
          <p:grpSpPr bwMode="gray">
            <a:xfrm>
              <a:off x="5871978" y="1582859"/>
              <a:ext cx="370106" cy="369021"/>
              <a:chOff x="1094" y="1920"/>
              <a:chExt cx="341" cy="340"/>
            </a:xfrm>
            <a:solidFill>
              <a:schemeClr val="accent1"/>
            </a:solidFill>
          </p:grpSpPr>
          <p:sp>
            <p:nvSpPr>
              <p:cNvPr id="36" name="Freeform 556"/>
              <p:cNvSpPr>
                <a:spLocks noEditPoints="1"/>
              </p:cNvSpPr>
              <p:nvPr/>
            </p:nvSpPr>
            <p:spPr bwMode="gray">
              <a:xfrm>
                <a:off x="1094" y="1920"/>
                <a:ext cx="341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7" name="Freeform 557"/>
              <p:cNvSpPr>
                <a:spLocks/>
              </p:cNvSpPr>
              <p:nvPr/>
            </p:nvSpPr>
            <p:spPr bwMode="gray">
              <a:xfrm>
                <a:off x="1322" y="2068"/>
                <a:ext cx="85" cy="14"/>
              </a:xfrm>
              <a:custGeom>
                <a:avLst/>
                <a:gdLst>
                  <a:gd name="T0" fmla="*/ 10 w 128"/>
                  <a:gd name="T1" fmla="*/ 21 h 21"/>
                  <a:gd name="T2" fmla="*/ 117 w 128"/>
                  <a:gd name="T3" fmla="*/ 21 h 21"/>
                  <a:gd name="T4" fmla="*/ 128 w 128"/>
                  <a:gd name="T5" fmla="*/ 11 h 21"/>
                  <a:gd name="T6" fmla="*/ 117 w 128"/>
                  <a:gd name="T7" fmla="*/ 0 h 21"/>
                  <a:gd name="T8" fmla="*/ 10 w 128"/>
                  <a:gd name="T9" fmla="*/ 0 h 21"/>
                  <a:gd name="T10" fmla="*/ 0 w 128"/>
                  <a:gd name="T11" fmla="*/ 11 h 21"/>
                  <a:gd name="T12" fmla="*/ 10 w 128"/>
                  <a:gd name="T1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" h="21">
                    <a:moveTo>
                      <a:pt x="10" y="21"/>
                    </a:moveTo>
                    <a:cubicBezTo>
                      <a:pt x="117" y="21"/>
                      <a:pt x="117" y="21"/>
                      <a:pt x="117" y="21"/>
                    </a:cubicBezTo>
                    <a:cubicBezTo>
                      <a:pt x="123" y="21"/>
                      <a:pt x="128" y="17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1"/>
                      <a:pt x="10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8" name="Freeform 558"/>
              <p:cNvSpPr>
                <a:spLocks/>
              </p:cNvSpPr>
              <p:nvPr/>
            </p:nvSpPr>
            <p:spPr bwMode="gray">
              <a:xfrm>
                <a:off x="1322" y="2097"/>
                <a:ext cx="85" cy="14"/>
              </a:xfrm>
              <a:custGeom>
                <a:avLst/>
                <a:gdLst>
                  <a:gd name="T0" fmla="*/ 117 w 128"/>
                  <a:gd name="T1" fmla="*/ 0 h 21"/>
                  <a:gd name="T2" fmla="*/ 10 w 128"/>
                  <a:gd name="T3" fmla="*/ 0 h 21"/>
                  <a:gd name="T4" fmla="*/ 0 w 128"/>
                  <a:gd name="T5" fmla="*/ 10 h 21"/>
                  <a:gd name="T6" fmla="*/ 10 w 128"/>
                  <a:gd name="T7" fmla="*/ 21 h 21"/>
                  <a:gd name="T8" fmla="*/ 117 w 128"/>
                  <a:gd name="T9" fmla="*/ 21 h 21"/>
                  <a:gd name="T10" fmla="*/ 128 w 128"/>
                  <a:gd name="T11" fmla="*/ 10 h 21"/>
                  <a:gd name="T12" fmla="*/ 117 w 128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" h="21">
                    <a:moveTo>
                      <a:pt x="117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16"/>
                      <a:pt x="4" y="21"/>
                      <a:pt x="10" y="21"/>
                    </a:cubicBezTo>
                    <a:cubicBezTo>
                      <a:pt x="117" y="21"/>
                      <a:pt x="117" y="21"/>
                      <a:pt x="117" y="21"/>
                    </a:cubicBezTo>
                    <a:cubicBezTo>
                      <a:pt x="123" y="21"/>
                      <a:pt x="128" y="16"/>
                      <a:pt x="128" y="10"/>
                    </a:cubicBezTo>
                    <a:cubicBezTo>
                      <a:pt x="128" y="4"/>
                      <a:pt x="123" y="0"/>
                      <a:pt x="1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9" name="Freeform 559"/>
              <p:cNvSpPr>
                <a:spLocks/>
              </p:cNvSpPr>
              <p:nvPr/>
            </p:nvSpPr>
            <p:spPr bwMode="gray">
              <a:xfrm>
                <a:off x="1322" y="2125"/>
                <a:ext cx="85" cy="14"/>
              </a:xfrm>
              <a:custGeom>
                <a:avLst/>
                <a:gdLst>
                  <a:gd name="T0" fmla="*/ 117 w 128"/>
                  <a:gd name="T1" fmla="*/ 0 h 22"/>
                  <a:gd name="T2" fmla="*/ 10 w 128"/>
                  <a:gd name="T3" fmla="*/ 0 h 22"/>
                  <a:gd name="T4" fmla="*/ 0 w 128"/>
                  <a:gd name="T5" fmla="*/ 11 h 22"/>
                  <a:gd name="T6" fmla="*/ 10 w 128"/>
                  <a:gd name="T7" fmla="*/ 22 h 22"/>
                  <a:gd name="T8" fmla="*/ 117 w 128"/>
                  <a:gd name="T9" fmla="*/ 22 h 22"/>
                  <a:gd name="T10" fmla="*/ 128 w 128"/>
                  <a:gd name="T11" fmla="*/ 11 h 22"/>
                  <a:gd name="T12" fmla="*/ 117 w 128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" h="22">
                    <a:moveTo>
                      <a:pt x="117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1"/>
                    </a:cubicBezTo>
                    <a:cubicBezTo>
                      <a:pt x="0" y="17"/>
                      <a:pt x="4" y="22"/>
                      <a:pt x="10" y="22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23" y="22"/>
                      <a:pt x="128" y="17"/>
                      <a:pt x="128" y="11"/>
                    </a:cubicBezTo>
                    <a:cubicBezTo>
                      <a:pt x="128" y="5"/>
                      <a:pt x="123" y="0"/>
                      <a:pt x="1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0" name="Freeform 560"/>
              <p:cNvSpPr>
                <a:spLocks/>
              </p:cNvSpPr>
              <p:nvPr/>
            </p:nvSpPr>
            <p:spPr bwMode="gray">
              <a:xfrm>
                <a:off x="1193" y="2051"/>
                <a:ext cx="143" cy="139"/>
              </a:xfrm>
              <a:custGeom>
                <a:avLst/>
                <a:gdLst>
                  <a:gd name="T0" fmla="*/ 209 w 216"/>
                  <a:gd name="T1" fmla="*/ 187 h 209"/>
                  <a:gd name="T2" fmla="*/ 173 w 216"/>
                  <a:gd name="T3" fmla="*/ 179 h 209"/>
                  <a:gd name="T4" fmla="*/ 156 w 216"/>
                  <a:gd name="T5" fmla="*/ 176 h 209"/>
                  <a:gd name="T6" fmla="*/ 145 w 216"/>
                  <a:gd name="T7" fmla="*/ 147 h 209"/>
                  <a:gd name="T8" fmla="*/ 167 w 216"/>
                  <a:gd name="T9" fmla="*/ 96 h 209"/>
                  <a:gd name="T10" fmla="*/ 157 w 216"/>
                  <a:gd name="T11" fmla="*/ 22 h 209"/>
                  <a:gd name="T12" fmla="*/ 109 w 216"/>
                  <a:gd name="T13" fmla="*/ 0 h 209"/>
                  <a:gd name="T14" fmla="*/ 59 w 216"/>
                  <a:gd name="T15" fmla="*/ 22 h 209"/>
                  <a:gd name="T16" fmla="*/ 50 w 216"/>
                  <a:gd name="T17" fmla="*/ 96 h 209"/>
                  <a:gd name="T18" fmla="*/ 72 w 216"/>
                  <a:gd name="T19" fmla="*/ 147 h 209"/>
                  <a:gd name="T20" fmla="*/ 61 w 216"/>
                  <a:gd name="T21" fmla="*/ 176 h 209"/>
                  <a:gd name="T22" fmla="*/ 43 w 216"/>
                  <a:gd name="T23" fmla="*/ 179 h 209"/>
                  <a:gd name="T24" fmla="*/ 7 w 216"/>
                  <a:gd name="T25" fmla="*/ 187 h 209"/>
                  <a:gd name="T26" fmla="*/ 3 w 216"/>
                  <a:gd name="T27" fmla="*/ 202 h 209"/>
                  <a:gd name="T28" fmla="*/ 17 w 216"/>
                  <a:gd name="T29" fmla="*/ 206 h 209"/>
                  <a:gd name="T30" fmla="*/ 45 w 216"/>
                  <a:gd name="T31" fmla="*/ 201 h 209"/>
                  <a:gd name="T32" fmla="*/ 70 w 216"/>
                  <a:gd name="T33" fmla="*/ 196 h 209"/>
                  <a:gd name="T34" fmla="*/ 91 w 216"/>
                  <a:gd name="T35" fmla="*/ 163 h 209"/>
                  <a:gd name="T36" fmla="*/ 90 w 216"/>
                  <a:gd name="T37" fmla="*/ 135 h 209"/>
                  <a:gd name="T38" fmla="*/ 71 w 216"/>
                  <a:gd name="T39" fmla="*/ 91 h 209"/>
                  <a:gd name="T40" fmla="*/ 76 w 216"/>
                  <a:gd name="T41" fmla="*/ 36 h 209"/>
                  <a:gd name="T42" fmla="*/ 109 w 216"/>
                  <a:gd name="T43" fmla="*/ 22 h 209"/>
                  <a:gd name="T44" fmla="*/ 141 w 216"/>
                  <a:gd name="T45" fmla="*/ 36 h 209"/>
                  <a:gd name="T46" fmla="*/ 146 w 216"/>
                  <a:gd name="T47" fmla="*/ 91 h 209"/>
                  <a:gd name="T48" fmla="*/ 127 w 216"/>
                  <a:gd name="T49" fmla="*/ 135 h 209"/>
                  <a:gd name="T50" fmla="*/ 125 w 216"/>
                  <a:gd name="T51" fmla="*/ 163 h 209"/>
                  <a:gd name="T52" fmla="*/ 146 w 216"/>
                  <a:gd name="T53" fmla="*/ 196 h 209"/>
                  <a:gd name="T54" fmla="*/ 171 w 216"/>
                  <a:gd name="T55" fmla="*/ 201 h 209"/>
                  <a:gd name="T56" fmla="*/ 199 w 216"/>
                  <a:gd name="T57" fmla="*/ 206 h 209"/>
                  <a:gd name="T58" fmla="*/ 204 w 216"/>
                  <a:gd name="T59" fmla="*/ 207 h 209"/>
                  <a:gd name="T60" fmla="*/ 214 w 216"/>
                  <a:gd name="T61" fmla="*/ 202 h 209"/>
                  <a:gd name="T62" fmla="*/ 209 w 216"/>
                  <a:gd name="T63" fmla="*/ 187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16" h="209">
                    <a:moveTo>
                      <a:pt x="209" y="187"/>
                    </a:moveTo>
                    <a:cubicBezTo>
                      <a:pt x="199" y="182"/>
                      <a:pt x="185" y="180"/>
                      <a:pt x="173" y="179"/>
                    </a:cubicBezTo>
                    <a:cubicBezTo>
                      <a:pt x="166" y="179"/>
                      <a:pt x="158" y="178"/>
                      <a:pt x="156" y="176"/>
                    </a:cubicBezTo>
                    <a:cubicBezTo>
                      <a:pt x="149" y="173"/>
                      <a:pt x="143" y="153"/>
                      <a:pt x="145" y="147"/>
                    </a:cubicBezTo>
                    <a:cubicBezTo>
                      <a:pt x="153" y="134"/>
                      <a:pt x="162" y="114"/>
                      <a:pt x="167" y="96"/>
                    </a:cubicBezTo>
                    <a:cubicBezTo>
                      <a:pt x="174" y="64"/>
                      <a:pt x="171" y="39"/>
                      <a:pt x="157" y="22"/>
                    </a:cubicBezTo>
                    <a:cubicBezTo>
                      <a:pt x="139" y="0"/>
                      <a:pt x="109" y="0"/>
                      <a:pt x="109" y="0"/>
                    </a:cubicBezTo>
                    <a:cubicBezTo>
                      <a:pt x="107" y="0"/>
                      <a:pt x="78" y="0"/>
                      <a:pt x="59" y="22"/>
                    </a:cubicBezTo>
                    <a:cubicBezTo>
                      <a:pt x="45" y="39"/>
                      <a:pt x="42" y="64"/>
                      <a:pt x="50" y="96"/>
                    </a:cubicBezTo>
                    <a:cubicBezTo>
                      <a:pt x="54" y="114"/>
                      <a:pt x="63" y="134"/>
                      <a:pt x="72" y="147"/>
                    </a:cubicBezTo>
                    <a:cubicBezTo>
                      <a:pt x="73" y="153"/>
                      <a:pt x="67" y="173"/>
                      <a:pt x="61" y="176"/>
                    </a:cubicBezTo>
                    <a:cubicBezTo>
                      <a:pt x="58" y="178"/>
                      <a:pt x="50" y="179"/>
                      <a:pt x="43" y="179"/>
                    </a:cubicBezTo>
                    <a:cubicBezTo>
                      <a:pt x="31" y="180"/>
                      <a:pt x="18" y="182"/>
                      <a:pt x="7" y="187"/>
                    </a:cubicBezTo>
                    <a:cubicBezTo>
                      <a:pt x="2" y="190"/>
                      <a:pt x="0" y="196"/>
                      <a:pt x="3" y="202"/>
                    </a:cubicBezTo>
                    <a:cubicBezTo>
                      <a:pt x="6" y="207"/>
                      <a:pt x="12" y="209"/>
                      <a:pt x="17" y="206"/>
                    </a:cubicBezTo>
                    <a:cubicBezTo>
                      <a:pt x="24" y="202"/>
                      <a:pt x="35" y="201"/>
                      <a:pt x="45" y="201"/>
                    </a:cubicBezTo>
                    <a:cubicBezTo>
                      <a:pt x="55" y="200"/>
                      <a:pt x="64" y="199"/>
                      <a:pt x="70" y="196"/>
                    </a:cubicBezTo>
                    <a:cubicBezTo>
                      <a:pt x="84" y="189"/>
                      <a:pt x="90" y="169"/>
                      <a:pt x="91" y="163"/>
                    </a:cubicBezTo>
                    <a:cubicBezTo>
                      <a:pt x="93" y="154"/>
                      <a:pt x="95" y="142"/>
                      <a:pt x="90" y="135"/>
                    </a:cubicBezTo>
                    <a:cubicBezTo>
                      <a:pt x="82" y="125"/>
                      <a:pt x="74" y="106"/>
                      <a:pt x="71" y="91"/>
                    </a:cubicBezTo>
                    <a:cubicBezTo>
                      <a:pt x="65" y="66"/>
                      <a:pt x="66" y="47"/>
                      <a:pt x="76" y="36"/>
                    </a:cubicBezTo>
                    <a:cubicBezTo>
                      <a:pt x="87" y="21"/>
                      <a:pt x="108" y="21"/>
                      <a:pt x="109" y="22"/>
                    </a:cubicBezTo>
                    <a:cubicBezTo>
                      <a:pt x="109" y="21"/>
                      <a:pt x="129" y="21"/>
                      <a:pt x="141" y="36"/>
                    </a:cubicBezTo>
                    <a:cubicBezTo>
                      <a:pt x="150" y="47"/>
                      <a:pt x="152" y="66"/>
                      <a:pt x="146" y="91"/>
                    </a:cubicBezTo>
                    <a:cubicBezTo>
                      <a:pt x="142" y="106"/>
                      <a:pt x="134" y="125"/>
                      <a:pt x="127" y="135"/>
                    </a:cubicBezTo>
                    <a:cubicBezTo>
                      <a:pt x="122" y="142"/>
                      <a:pt x="123" y="154"/>
                      <a:pt x="125" y="163"/>
                    </a:cubicBezTo>
                    <a:cubicBezTo>
                      <a:pt x="127" y="169"/>
                      <a:pt x="133" y="189"/>
                      <a:pt x="146" y="196"/>
                    </a:cubicBezTo>
                    <a:cubicBezTo>
                      <a:pt x="153" y="199"/>
                      <a:pt x="161" y="200"/>
                      <a:pt x="171" y="201"/>
                    </a:cubicBezTo>
                    <a:cubicBezTo>
                      <a:pt x="181" y="201"/>
                      <a:pt x="192" y="202"/>
                      <a:pt x="199" y="206"/>
                    </a:cubicBezTo>
                    <a:cubicBezTo>
                      <a:pt x="201" y="207"/>
                      <a:pt x="202" y="207"/>
                      <a:pt x="204" y="207"/>
                    </a:cubicBezTo>
                    <a:cubicBezTo>
                      <a:pt x="208" y="207"/>
                      <a:pt x="212" y="205"/>
                      <a:pt x="214" y="202"/>
                    </a:cubicBezTo>
                    <a:cubicBezTo>
                      <a:pt x="216" y="196"/>
                      <a:pt x="214" y="190"/>
                      <a:pt x="209" y="1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pic>
        <p:nvPicPr>
          <p:cNvPr id="7" name="Picture 6" descr="A person wearing a white dress&#10;&#10;Description automatically generated">
            <a:extLst>
              <a:ext uri="{FF2B5EF4-FFF2-40B4-BE49-F238E27FC236}">
                <a16:creationId xmlns:a16="http://schemas.microsoft.com/office/drawing/2014/main" id="{A82BBDD7-5DFA-ED60-B488-F28A08F1A3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754" y="1536357"/>
            <a:ext cx="1356061" cy="1427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55091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ENTATION_LANGUAGE" val="1033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IAAAAAAAAAAwAAAAMAAAAA/////wQAGwwAAAAAAAAAAAAAIAD///////////////8AAAD///////////////8DAAAAAg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zQuFwmn5YJJr6ghuJ2+0ewFAAAAAAADAAAAAAADAAAAAwADAAUA////////BAAAAAMAEAALnrk+fWocyEqaJYiZWSTNowUAAAABAAMAAAACAAMAAAABAAMAAAAAAP///////wMAAAAAAP///////w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DQuFwmn5YJJr6ghuJ2+0ewDRGF0YQAbAAAABExpbmtlZFNoYXBlRGF0YQAFAAAAAAACTmFtZQAZAAAATGlua2VkU2hhcGVzRGF0YVByb3BlcnR5ABBWZXJzaW9uAAAAAAAJTGFzdFdyaXRlAI/kMEB4AQAAAAEA/////50AnQAAAAVfaWQAEAAAAASeuT59ahzISpoliJlZJM2jA0RhdGEAKgAAAAhQcmVzZW50YXRpb25TY2FubmVkRm9yTGlua2VkU2hhcGVzAAEAAk5hbWUAJAAAAExpbmtlZFNoYXBlUHJlc2VudGF0aW9uU2V0dGluZ3NEYXRhABBWZXJzaW9uAAAAAAAJTGFzdFdyaXRlAKDkMEB4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EKGUID" val="76e5fd29-e004-4eb3-b0f6-e541414d5991"/>
  <p:tag name="MIO_UPDATE" val="True"/>
  <p:tag name="MIO_VERSION" val="22.12.2021 12:35:08"/>
  <p:tag name="MIO_DBID" val="fede6900-895c-4459-b97c-72b2b9dac459"/>
  <p:tag name="MIO_LASTDOWNLOADED" val="16.02.2022 11:44:21.231"/>
  <p:tag name="MIO_OBJECTNAME" val="Deloitte 16:9 Time Saver (2021)"/>
  <p:tag name="MIO_LASTEDITORNAME" val="Isabel Steiml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00000000-0000-0000-0000-000000000000"/>
  <p:tag name="MIO_UPDATE" val="True"/>
  <p:tag name="MIO_VERSION" val="01.01.0001 00:00:00"/>
  <p:tag name="MIO_DBID" val=""/>
  <p:tag name="MIO_LASTDOWNLOADED" val="01.01.0001 00:00:00.000"/>
  <p:tag name="MIO_FALLBACK_LAYOUT" val="32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5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2"/>
  <p:tag name="MIO_SHOW_DATE" val="False"/>
  <p:tag name="MIO_SHOW_FOOTER" val="False"/>
  <p:tag name="MIO_SHOW_PAGENUMBER" val="True"/>
  <p:tag name="MIO_AVOID_BLANK_LAYOUT" val="False"/>
  <p:tag name="MIO_CD_LAYOUT_VALID_AREA" val="False"/>
  <p:tag name="MIO_NUMBER_OF_VALID_LAYOUTS" val="49"/>
  <p:tag name="MIO_HDS" val="True"/>
  <p:tag name="MIO_SKIPVERSION" val="01.01.0001 00:00:00"/>
  <p:tag name="MIO_EKGUID" val="15e6b1f2-4f4a-4ffc-adb1-bb269b750cdb"/>
  <p:tag name="MIO_UPDATE" val="True"/>
  <p:tag name="MIO_VERSION" val="19.03.2021 10:24:30"/>
  <p:tag name="MIO_DBID" val="fede6900-895c-4459-b97c-72b2b9dac459"/>
  <p:tag name="MIO_LASTDOWNLOADED" val="19.03.2021 11:32:18.789"/>
  <p:tag name="MIO_OBJECTNAME" val="Deloitte 16:9 (2021)"/>
  <p:tag name="MIO_CDID" val="b832c4bc-5070-4232-bfdb-3d42c9da7c2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lease add a presentation title;"/>
  <p:tag name="MIO_USER_INPUT_OPTIONAL" val=" "/>
  <p:tag name="MIO_USER_INPUT_TEXT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mber firms and DTTL;Insert appropriate copyright (do not change or delete)"/>
  <p:tag name="MIO_USER_INPUT_OPTIONAL" val=" "/>
  <p:tag name="MIO_USER_INPUT_TEXT" val=" 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88fa879-659b-4876-93b3-deb14f4fbb00">
      <UserInfo>
        <DisplayName>Medvid, Yevhen</DisplayName>
        <AccountId>176</AccountId>
        <AccountType/>
      </UserInfo>
    </SharedWithUsers>
    <_activity xmlns="7c0efe49-c9dc-448c-827a-ab205da0591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FD450FB239E44E8627B798AB4E21AE" ma:contentTypeVersion="17" ma:contentTypeDescription="Create a new document." ma:contentTypeScope="" ma:versionID="418274b713310ea5ab3c9139919fb0f4">
  <xsd:schema xmlns:xsd="http://www.w3.org/2001/XMLSchema" xmlns:xs="http://www.w3.org/2001/XMLSchema" xmlns:p="http://schemas.microsoft.com/office/2006/metadata/properties" xmlns:ns3="7c0efe49-c9dc-448c-827a-ab205da05913" xmlns:ns4="188fa879-659b-4876-93b3-deb14f4fbb00" targetNamespace="http://schemas.microsoft.com/office/2006/metadata/properties" ma:root="true" ma:fieldsID="bddb239247a5b5d4bcabdebb303efcf8" ns3:_="" ns4:_="">
    <xsd:import namespace="7c0efe49-c9dc-448c-827a-ab205da05913"/>
    <xsd:import namespace="188fa879-659b-4876-93b3-deb14f4fbb0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0efe49-c9dc-448c-827a-ab205da059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3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8fa879-659b-4876-93b3-deb14f4fbb0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B30D0B0-40FB-4C5A-BDB5-6BA0F743E790}">
  <ds:schemaRefs>
    <ds:schemaRef ds:uri="188fa879-659b-4876-93b3-deb14f4fbb00"/>
    <ds:schemaRef ds:uri="7c0efe49-c9dc-448c-827a-ab205da0591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BD8C6BE-2134-4A1D-B43E-4D87A70694BF}">
  <ds:schemaRefs>
    <ds:schemaRef ds:uri="188fa879-659b-4876-93b3-deb14f4fbb00"/>
    <ds:schemaRef ds:uri="7c0efe49-c9dc-448c-827a-ab205da0591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9388850-C0B1-45B7-A0B8-C55AD0F682E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 Brand Theme</Template>
  <Application>Microsoft Office PowerPoint</Application>
  <PresentationFormat>Widescreen</PresentationFormat>
  <Slides>1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Deloitte Brand Theme</vt:lpstr>
      <vt:lpstr>Profi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file</dc:title>
  <dc:creator/>
  <cp:revision>41</cp:revision>
  <dcterms:created xsi:type="dcterms:W3CDTF">2020-04-09T19:50:51Z</dcterms:created>
  <dcterms:modified xsi:type="dcterms:W3CDTF">2024-10-17T16:2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2-16T10:44:20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de081781-e729-4153-b0e5-07bd171af154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4AFD450FB239E44E8627B798AB4E21AE</vt:lpwstr>
  </property>
  <property fmtid="{D5CDD505-2E9C-101B-9397-08002B2CF9AE}" pid="10" name="Hash">
    <vt:lpwstr>91BC73E70A395533D65163DF5509E83735B6F525BAC21C7A89209B9EF86B28B6</vt:lpwstr>
  </property>
  <property fmtid="{D5CDD505-2E9C-101B-9397-08002B2CF9AE}" pid="11" name="Hide date">
    <vt:lpwstr>30-Aug-22 1:24:18 PM</vt:lpwstr>
  </property>
  <property fmtid="{D5CDD505-2E9C-101B-9397-08002B2CF9AE}" pid="12" name="Classification">
    <vt:lpwstr>Confidential</vt:lpwstr>
  </property>
</Properties>
</file>